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2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3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1" r:id="rId2"/>
    <p:sldMasterId id="2147483739" r:id="rId3"/>
    <p:sldMasterId id="2147483777" r:id="rId4"/>
    <p:sldMasterId id="2147483816" r:id="rId5"/>
    <p:sldMasterId id="2147483859" r:id="rId6"/>
  </p:sldMasterIdLst>
  <p:notesMasterIdLst>
    <p:notesMasterId r:id="rId30"/>
  </p:notesMasterIdLst>
  <p:sldIdLst>
    <p:sldId id="256" r:id="rId7"/>
    <p:sldId id="281" r:id="rId8"/>
    <p:sldId id="282" r:id="rId9"/>
    <p:sldId id="283" r:id="rId10"/>
    <p:sldId id="258" r:id="rId11"/>
    <p:sldId id="284" r:id="rId12"/>
    <p:sldId id="272" r:id="rId13"/>
    <p:sldId id="271" r:id="rId14"/>
    <p:sldId id="269" r:id="rId15"/>
    <p:sldId id="270" r:id="rId16"/>
    <p:sldId id="260" r:id="rId17"/>
    <p:sldId id="285" r:id="rId18"/>
    <p:sldId id="263" r:id="rId19"/>
    <p:sldId id="287" r:id="rId20"/>
    <p:sldId id="275" r:id="rId21"/>
    <p:sldId id="261" r:id="rId22"/>
    <p:sldId id="288" r:id="rId23"/>
    <p:sldId id="265" r:id="rId24"/>
    <p:sldId id="266" r:id="rId25"/>
    <p:sldId id="259" r:id="rId26"/>
    <p:sldId id="262" r:id="rId27"/>
    <p:sldId id="286" r:id="rId28"/>
    <p:sldId id="264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2B2650A-275C-920B-697C-A290C24E0105}" name="Milojicic, Dejan S (Hewlett Packard Labs)" initials="MDS(PL" userId="S::dejan.milojicic@hpe.com::276eb965-40fb-491c-8deb-3e2d2cd9a26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5562B"/>
    <a:srgbClr val="92D050"/>
    <a:srgbClr val="00B0F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134414-655C-4E59-A99A-DDF0CE6E2DF4}" v="7" dt="2024-09-16T19:43:28.31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5065" autoAdjust="0"/>
  </p:normalViewPr>
  <p:slideViewPr>
    <p:cSldViewPr snapToGrid="0">
      <p:cViewPr varScale="1">
        <p:scale>
          <a:sx n="61" d="100"/>
          <a:sy n="61" d="100"/>
        </p:scale>
        <p:origin x="1459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microsoft.com/office/2018/10/relationships/authors" Target="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notesMaster" Target="notesMasters/notesMaster1.xml"/><Relationship Id="rId35" Type="http://schemas.microsoft.com/office/2015/10/relationships/revisionInfo" Target="revisionInfo.xml"/><Relationship Id="rId8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84EBB3-2EBD-4E82-AEAF-A79330C8DCA2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35AC43-733C-4440-91DD-92495AF94B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208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o understand the context for the problem, we need to look at recent technological trends for large-scale workloads.</a:t>
            </a:r>
            <a:br>
              <a:rPr lang="en-US" dirty="0"/>
            </a:br>
            <a:r>
              <a:rPr lang="en-US" dirty="0"/>
              <a:t>On the software side, we’re seeing some convergence of workloads around three main categories, HPC/AI/Analytics. The main abstraction used to manage these workloads are workflows: graphs of dependent and independent tasks with different resource requirements.</a:t>
            </a:r>
            <a:br>
              <a:rPr lang="en-US" dirty="0"/>
            </a:br>
            <a:r>
              <a:rPr lang="en-US" dirty="0"/>
              <a:t>On the middleware side, we’ve seen providers move from on-prem to cloud, using VMs, then containers, and now serverless. The main abstractions as PaaS, IaaS, </a:t>
            </a:r>
            <a:r>
              <a:rPr lang="en-US" dirty="0" err="1"/>
              <a:t>FaaS</a:t>
            </a:r>
            <a:r>
              <a:rPr lang="en-US" dirty="0"/>
              <a:t>, anything-</a:t>
            </a:r>
            <a:r>
              <a:rPr lang="en-US" dirty="0" err="1"/>
              <a:t>aa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On the hardware side, we see increased heterogeneity with turning towards various specialized ASICs to accelerate specific functions. The main abstractions are CUDA, OpenCL, etc.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35AC43-733C-4440-91DD-92495AF94B6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78735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Examples of backends: ssh, MPI, Docker, local, </a:t>
            </a:r>
            <a:r>
              <a:rPr lang="en-US" err="1"/>
              <a:t>serveless</a:t>
            </a:r>
            <a:r>
              <a:rPr lang="en-US"/>
              <a:t> (</a:t>
            </a:r>
            <a:r>
              <a:rPr lang="en-US" err="1"/>
              <a:t>Knative+Fission</a:t>
            </a:r>
            <a:r>
              <a:rPr lang="en-US"/>
              <a:t>)</a:t>
            </a:r>
          </a:p>
          <a:p>
            <a:r>
              <a:rPr lang="en-US"/>
              <a:t>Examples of metrics: power/energy, hardware counters, application-reported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35AC43-733C-4440-91DD-92495AF94B67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6884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ifecycle figur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35AC43-733C-4440-91DD-92495AF94B6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78375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ARP records everything we can measure, and can then read and replay the metadata file to try to reproduce the same experimental conditions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35AC43-733C-4440-91DD-92495AF94B67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44106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35AC43-733C-4440-91DD-92495AF94B6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40421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 confluence of these trends is heterogeneous serverless computing. Each of these elements introduces a lot of unpredictability to performanc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35AC43-733C-4440-91DD-92495AF94B67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43835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e of the problems with HSC is that all these abstraction layers create a very unpredictable performance profile.</a:t>
            </a:r>
          </a:p>
          <a:p>
            <a:r>
              <a:rPr lang="en-US" dirty="0"/>
              <a:t>But why should *you* care about this problem if you’re not working on HSC?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35AC43-733C-4440-91DD-92495AF94B6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53243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ot exactly a new problem; and the solution isn’t revolutionary. Variability has been studied and handled in many other sciences for a long time (examples). The difference with computer performance is that it used to be much more deterministic, but the recent technological trends made performance determinism a hopeless cause. Instead, we should adapt our performance measurement tools to dealing with uncertainty.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35AC43-733C-4440-91DD-92495AF94B67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51963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erformance is highly variable, most distributions are not narrow. Doesn’t fit what people are doing right now!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Variability itself is variable, many different distribution shapes: normal, log-normal, multimodal, right-tailed, …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70% of the benchmarks we evaluated show multimodality, which is completely missed by point summaries</a:t>
            </a: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ampling any of these distributions with a small number of repetitions is likely to be unrepresentative and irreproducib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35AC43-733C-4440-91DD-92495AF94B67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39181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solution: introduce a distribution-based approach to performance evaluation throughout its entire lifecycle</a:t>
            </a:r>
          </a:p>
          <a:p>
            <a:r>
              <a:rPr lang="en-US" dirty="0"/>
              <a:t>But this takes work and some expertise, so we automated as much of it as we could in a tool we call SHARP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35AC43-733C-4440-91DD-92495AF94B67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01656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se two experiments have nearly the same mean and similar point summaries, so NAMD claims they’re virtually identical. But the distributions are quite different with the introduction of a third mode, so a distribution-based comparison (KS) shows they’re different.</a:t>
            </a:r>
          </a:p>
          <a:p>
            <a:r>
              <a:rPr lang="en-US" dirty="0"/>
              <a:t>SHARP collects and compare entire distributions to evaluate if performance is “the same”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35AC43-733C-4440-91DD-92495AF94B67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57498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ost papers only use a few fixed runs. One paper (</a:t>
            </a:r>
            <a:r>
              <a:rPr lang="en-US" err="1"/>
              <a:t>SeBS</a:t>
            </a:r>
            <a:r>
              <a:rPr lang="en-US"/>
              <a:t>) used 100 runs.</a:t>
            </a:r>
            <a:br>
              <a:rPr lang="en-US"/>
            </a:br>
            <a:r>
              <a:rPr lang="en-US"/>
              <a:t>KS-based stopping rule captures tail behavior modality, and outliers better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35AC43-733C-4440-91DD-92495AF94B6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01964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5" Type="http://schemas.openxmlformats.org/officeDocument/2006/relationships/hyperlink" Target="https://hpe.kadanza.com/kadanza/photography/ppt-title-images/#/overview" TargetMode="Externa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.xml"/><Relationship Id="rId4" Type="http://schemas.openxmlformats.org/officeDocument/2006/relationships/image" Target="../media/image11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Relationship Id="rId4" Type="http://schemas.openxmlformats.org/officeDocument/2006/relationships/image" Target="../media/image11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.xml"/><Relationship Id="rId4" Type="http://schemas.openxmlformats.org/officeDocument/2006/relationships/image" Target="../media/image11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11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4.jpeg"/><Relationship Id="rId4" Type="http://schemas.openxmlformats.org/officeDocument/2006/relationships/image" Target="../media/image11.emf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1.emf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1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6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9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Relationship Id="rId4" Type="http://schemas.openxmlformats.org/officeDocument/2006/relationships/image" Target="../media/image11.emf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4" Type="http://schemas.openxmlformats.org/officeDocument/2006/relationships/image" Target="../media/image12.emf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4" Type="http://schemas.openxmlformats.org/officeDocument/2006/relationships/image" Target="../media/image12.emf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5" Type="http://schemas.openxmlformats.org/officeDocument/2006/relationships/hyperlink" Target="https://hpe.kadanza.com/kadanza/photography/ppt-title-images/#/overview" TargetMode="External"/><Relationship Id="rId4" Type="http://schemas.openxmlformats.org/officeDocument/2006/relationships/image" Target="../media/image6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hpe.kadanza.com/kadanza/photography/ppt-title-images/#/overview" TargetMode="Externa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4" Type="http://schemas.openxmlformats.org/officeDocument/2006/relationships/hyperlink" Target="https://hpe.kadanza.com/kadanza/photography/ppt-title-images/?sso=saml" TargetMode="Externa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6337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4551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88" y="1365166"/>
            <a:ext cx="3631039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182288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969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6670" y="1000162"/>
            <a:ext cx="7942930" cy="5095837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53153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364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13028" y="999674"/>
            <a:ext cx="3797971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7481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07016" y="999674"/>
            <a:ext cx="3803983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348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99712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197180" y="999540"/>
            <a:ext cx="5619836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6750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8117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76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289410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9410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9410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20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696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7427" y="1060591"/>
            <a:ext cx="1142130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721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6087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003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129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/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t>Click to add</a:t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329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41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465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427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42604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834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630583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946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4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4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To change your section image, go to </a:t>
            </a:r>
            <a:r>
              <a:rPr lang="en-US" sz="1500">
                <a:solidFill>
                  <a:prstClr val="black"/>
                </a:solidFill>
                <a:latin typeface="MetricHPE Semibold"/>
              </a:rPr>
              <a:t>[View] </a:t>
            </a:r>
            <a:r>
              <a:rPr lang="en-US" sz="1500">
                <a:solidFill>
                  <a:prstClr val="black"/>
                </a:solidFill>
              </a:rPr>
              <a:t>-&gt; </a:t>
            </a:r>
            <a:r>
              <a:rPr lang="en-US" sz="1500">
                <a:solidFill>
                  <a:prstClr val="black"/>
                </a:solidFill>
                <a:latin typeface="MetricHPE Semibold"/>
              </a:rPr>
              <a:t>[Slide Master] </a:t>
            </a:r>
            <a:r>
              <a:rPr lang="en-US" sz="1500">
                <a:solidFill>
                  <a:prstClr val="black"/>
                </a:solidFill>
              </a:rPr>
              <a:t>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A collection of images specifically formatted for use as PPT title slides can be found </a:t>
            </a:r>
            <a:r>
              <a:rPr lang="en-US" sz="1500">
                <a:solidFill>
                  <a:prstClr val="black"/>
                </a:solidFill>
                <a:latin typeface="MetricHPE Semibold"/>
                <a:hlinkClick r:id="rId5"/>
              </a:rPr>
              <a:t>here</a:t>
            </a:r>
            <a:r>
              <a:rPr lang="en-US" sz="1500">
                <a:solidFill>
                  <a:prstClr val="black"/>
                </a:solidFill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  <a:latin typeface="MetricHPE Semibold"/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983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41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16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257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301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677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63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828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02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32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563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852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2910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429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649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176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004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994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06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721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6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7863840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324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7066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351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596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214424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205728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25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84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1183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434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27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2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7220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156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</a:t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39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231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77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8492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7257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834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912840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991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630583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5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5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993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68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432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799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796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724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923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8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53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674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227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014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5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5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19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5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5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67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609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37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589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6441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66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95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305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7863840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700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401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878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214424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205728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458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9" name="Rectangle 8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136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96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8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04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28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83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285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655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</a:t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141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026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287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083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FC93D-9D00-450B-AC90-F33862C7F8F3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61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152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 w/ Hal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543010" y="6336077"/>
            <a:ext cx="1659845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graphicFrame>
        <p:nvGraphicFramePr>
          <p:cNvPr id="9" name="Content Placeholder 3"/>
          <p:cNvGraphicFramePr>
            <a:graphicFrameLocks/>
          </p:cNvGraphicFramePr>
          <p:nvPr userDrawn="1"/>
        </p:nvGraphicFramePr>
        <p:xfrm>
          <a:off x="75457" y="952842"/>
          <a:ext cx="11811730" cy="4951534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16639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9681">
                  <a:extLst>
                    <a:ext uri="{9D8B030D-6E8A-4147-A177-3AD203B41FA5}">
                      <a16:colId xmlns:a16="http://schemas.microsoft.com/office/drawing/2014/main" val="1735314230"/>
                    </a:ext>
                  </a:extLst>
                </a:gridCol>
                <a:gridCol w="14496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96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96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968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44968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44968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53681">
                <a:tc rowSpan="2"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tx1"/>
                          </a:solidFill>
                        </a:rPr>
                        <a:t>In Mark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tx1"/>
                          </a:solidFill>
                        </a:rPr>
                        <a:t>1H - 202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tx1"/>
                          </a:solidFill>
                        </a:rPr>
                        <a:t>2H -202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tx1"/>
                          </a:solidFill>
                        </a:rPr>
                        <a:t>1H - 20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tx1"/>
                          </a:solidFill>
                        </a:rPr>
                        <a:t>2H -20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tx1"/>
                          </a:solidFill>
                        </a:rPr>
                        <a:t>1H - 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tx1"/>
                          </a:solidFill>
                        </a:rPr>
                        <a:t>2H -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3681">
                <a:tc vMerge="1"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600" b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600" b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600" b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600" b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600" b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3681"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3681"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3681"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3681"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3681"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3681"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53681"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53681"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53681"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53681"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53681"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53681"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8B6E2E8-997C-4C33-B52D-885078E8DE41}"/>
              </a:ext>
            </a:extLst>
          </p:cNvPr>
          <p:cNvSpPr txBox="1"/>
          <p:nvPr userDrawn="1"/>
        </p:nvSpPr>
        <p:spPr>
          <a:xfrm>
            <a:off x="6162499" y="5965632"/>
            <a:ext cx="2989470" cy="4808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50000"/>
              </a:lnSpc>
            </a:pPr>
            <a:r>
              <a:rPr lang="en-US" sz="1600" cap="small">
                <a:solidFill>
                  <a:prstClr val="black"/>
                </a:solidFill>
              </a:rPr>
              <a:t>NPI	Investigation</a:t>
            </a:r>
          </a:p>
          <a:p>
            <a:pPr>
              <a:lnSpc>
                <a:spcPct val="150000"/>
              </a:lnSpc>
            </a:pPr>
            <a:r>
              <a:rPr lang="en-US" sz="1600" cap="small">
                <a:solidFill>
                  <a:prstClr val="black"/>
                </a:solidFill>
              </a:rPr>
              <a:t>Select Availability</a:t>
            </a:r>
          </a:p>
        </p:txBody>
      </p:sp>
      <p:sp>
        <p:nvSpPr>
          <p:cNvPr id="4" name="Diamond 3">
            <a:extLst>
              <a:ext uri="{FF2B5EF4-FFF2-40B4-BE49-F238E27FC236}">
                <a16:creationId xmlns:a16="http://schemas.microsoft.com/office/drawing/2014/main" id="{0568B76C-6549-40BB-98AE-335E7BC0E504}"/>
              </a:ext>
            </a:extLst>
          </p:cNvPr>
          <p:cNvSpPr/>
          <p:nvPr userDrawn="1"/>
        </p:nvSpPr>
        <p:spPr bwMode="ltGray">
          <a:xfrm>
            <a:off x="5855060" y="5963115"/>
            <a:ext cx="223837" cy="223837"/>
          </a:xfrm>
          <a:prstGeom prst="diamond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Diamond 10">
            <a:extLst>
              <a:ext uri="{FF2B5EF4-FFF2-40B4-BE49-F238E27FC236}">
                <a16:creationId xmlns:a16="http://schemas.microsoft.com/office/drawing/2014/main" id="{90806F19-136E-48BD-8293-9F8E3DE0F38C}"/>
              </a:ext>
            </a:extLst>
          </p:cNvPr>
          <p:cNvSpPr/>
          <p:nvPr userDrawn="1"/>
        </p:nvSpPr>
        <p:spPr bwMode="ltGray">
          <a:xfrm>
            <a:off x="6795654" y="5963116"/>
            <a:ext cx="223837" cy="223837"/>
          </a:xfrm>
          <a:prstGeom prst="diamon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A07CBC-E147-4DDB-8D29-7A9A40089127}"/>
              </a:ext>
            </a:extLst>
          </p:cNvPr>
          <p:cNvCxnSpPr>
            <a:cxnSpLocks/>
          </p:cNvCxnSpPr>
          <p:nvPr userDrawn="1"/>
        </p:nvCxnSpPr>
        <p:spPr>
          <a:xfrm>
            <a:off x="5623560" y="6446435"/>
            <a:ext cx="455337" cy="0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1257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13C9CD-CEB4-6749-878D-F8E61EC7FB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DC00CF4-3647-9142-A97E-5B77428DAD2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6700" y="914400"/>
            <a:ext cx="11658600" cy="54483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D6A8F2-94B1-9E4C-90B8-875D6B180F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5422" y="6492875"/>
            <a:ext cx="5313009" cy="365125"/>
          </a:xfrm>
        </p:spPr>
        <p:txBody>
          <a:bodyPr/>
          <a:lstStyle/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889B6-A0D8-F246-951C-FE4F9EBCD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932D5-48D2-3F48-87E1-D925B9343798}" type="slidenum">
              <a:rPr lang="en-US" smtClean="0">
                <a:solidFill>
                  <a:srgbClr val="787871"/>
                </a:solidFill>
              </a:rPr>
              <a:pPr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92491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497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138376" y="1095494"/>
            <a:ext cx="2286595" cy="920851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18891" y="381805"/>
            <a:ext cx="11354220" cy="6094390"/>
            <a:chOff x="470777" y="381805"/>
            <a:chExt cx="11351263" cy="6094390"/>
          </a:xfrm>
        </p:grpSpPr>
        <p:grpSp>
          <p:nvGrpSpPr>
            <p:cNvPr id="11" name="Group 10"/>
            <p:cNvGrpSpPr/>
            <p:nvPr/>
          </p:nvGrpSpPr>
          <p:grpSpPr>
            <a:xfrm>
              <a:off x="470777" y="381805"/>
              <a:ext cx="11351263" cy="6094390"/>
              <a:chOff x="470777" y="380999"/>
              <a:chExt cx="11351263" cy="6094390"/>
            </a:xfrm>
          </p:grpSpPr>
          <p:sp>
            <p:nvSpPr>
              <p:cNvPr id="13" name="Rectangle 12"/>
              <p:cNvSpPr/>
              <p:nvPr/>
            </p:nvSpPr>
            <p:spPr>
              <a:xfrm>
                <a:off x="485542" y="380999"/>
                <a:ext cx="11336498" cy="188969"/>
              </a:xfrm>
              <a:prstGeom prst="rect">
                <a:avLst/>
              </a:prstGeom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4" name="Group 13"/>
              <p:cNvGrpSpPr/>
              <p:nvPr/>
            </p:nvGrpSpPr>
            <p:grpSpPr>
              <a:xfrm>
                <a:off x="470777" y="380999"/>
                <a:ext cx="11351262" cy="6094390"/>
                <a:chOff x="470777" y="380999"/>
                <a:chExt cx="11351262" cy="5669070"/>
              </a:xfrm>
            </p:grpSpPr>
            <p:sp>
              <p:nvSpPr>
                <p:cNvPr id="15" name="Rectangle 14"/>
                <p:cNvSpPr/>
                <p:nvPr/>
              </p:nvSpPr>
              <p:spPr>
                <a:xfrm>
                  <a:off x="470777" y="380999"/>
                  <a:ext cx="188969" cy="5669070"/>
                </a:xfrm>
                <a:prstGeom prst="rect">
                  <a:avLst/>
                </a:prstGeom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90000"/>
                    </a:lnSpc>
                  </a:pPr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6" name="Rectangle 15"/>
                <p:cNvSpPr/>
                <p:nvPr/>
              </p:nvSpPr>
              <p:spPr>
                <a:xfrm>
                  <a:off x="11633070" y="380999"/>
                  <a:ext cx="188969" cy="5669070"/>
                </a:xfrm>
                <a:prstGeom prst="rect">
                  <a:avLst/>
                </a:prstGeom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90000"/>
                    </a:lnSpc>
                  </a:pPr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</p:grpSp>
        <p:sp>
          <p:nvSpPr>
            <p:cNvPr id="12" name="Rectangle 11"/>
            <p:cNvSpPr/>
            <p:nvPr/>
          </p:nvSpPr>
          <p:spPr>
            <a:xfrm>
              <a:off x="485542" y="6286420"/>
              <a:ext cx="11336498" cy="188969"/>
            </a:xfrm>
            <a:prstGeom prst="rect">
              <a:avLst/>
            </a:prstGeom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4092" y="2423279"/>
            <a:ext cx="9144000" cy="1554480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4092" y="4025293"/>
            <a:ext cx="9144000" cy="851507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65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606582" y="456998"/>
            <a:ext cx="2286595" cy="920851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3169920"/>
            <a:ext cx="9144000" cy="1554480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172" y="4775201"/>
            <a:ext cx="9144000" cy="851507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9330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990600"/>
            <a:ext cx="8230154" cy="876300"/>
          </a:xfrm>
        </p:spPr>
        <p:txBody>
          <a:bodyPr anchor="t"/>
          <a:lstStyle>
            <a:lvl1pPr algn="l">
              <a:defRPr sz="4800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760" y="1905000"/>
            <a:ext cx="8230155" cy="351716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8964" y="690088"/>
            <a:ext cx="10975658" cy="46512"/>
          </a:xfrm>
          <a:prstGeom prst="rect">
            <a:avLst/>
          </a:prstGeom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138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am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418891" y="381806"/>
            <a:ext cx="11354220" cy="5706999"/>
            <a:chOff x="418781" y="381805"/>
            <a:chExt cx="11351263" cy="5706999"/>
          </a:xfrm>
        </p:grpSpPr>
        <p:grpSp>
          <p:nvGrpSpPr>
            <p:cNvPr id="11" name="Group 10"/>
            <p:cNvGrpSpPr/>
            <p:nvPr/>
          </p:nvGrpSpPr>
          <p:grpSpPr>
            <a:xfrm>
              <a:off x="418781" y="381805"/>
              <a:ext cx="11351263" cy="5706999"/>
              <a:chOff x="470777" y="380999"/>
              <a:chExt cx="11351263" cy="6094390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485542" y="380999"/>
                <a:ext cx="11336498" cy="188969"/>
              </a:xfrm>
              <a:prstGeom prst="rect">
                <a:avLst/>
              </a:prstGeom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" name="Group 12"/>
              <p:cNvGrpSpPr/>
              <p:nvPr/>
            </p:nvGrpSpPr>
            <p:grpSpPr>
              <a:xfrm>
                <a:off x="470777" y="380999"/>
                <a:ext cx="11351262" cy="6094390"/>
                <a:chOff x="470777" y="380999"/>
                <a:chExt cx="11351262" cy="5669070"/>
              </a:xfrm>
            </p:grpSpPr>
            <p:sp>
              <p:nvSpPr>
                <p:cNvPr id="14" name="Rectangle 13"/>
                <p:cNvSpPr/>
                <p:nvPr/>
              </p:nvSpPr>
              <p:spPr>
                <a:xfrm>
                  <a:off x="470777" y="380999"/>
                  <a:ext cx="188969" cy="5669070"/>
                </a:xfrm>
                <a:prstGeom prst="rect">
                  <a:avLst/>
                </a:prstGeom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90000"/>
                    </a:lnSpc>
                  </a:pPr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" name="Rectangle 14"/>
                <p:cNvSpPr/>
                <p:nvPr/>
              </p:nvSpPr>
              <p:spPr>
                <a:xfrm>
                  <a:off x="11633070" y="380999"/>
                  <a:ext cx="188969" cy="5669070"/>
                </a:xfrm>
                <a:prstGeom prst="rect">
                  <a:avLst/>
                </a:prstGeom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90000"/>
                    </a:lnSpc>
                  </a:pPr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</p:grpSp>
        <p:sp>
          <p:nvSpPr>
            <p:cNvPr id="16" name="Rectangle 15"/>
            <p:cNvSpPr/>
            <p:nvPr/>
          </p:nvSpPr>
          <p:spPr>
            <a:xfrm>
              <a:off x="433546" y="5899835"/>
              <a:ext cx="11336498" cy="188969"/>
            </a:xfrm>
            <a:prstGeom prst="rect">
              <a:avLst/>
            </a:prstGeom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4716" y="990600"/>
            <a:ext cx="8230154" cy="876300"/>
          </a:xfrm>
        </p:spPr>
        <p:txBody>
          <a:bodyPr anchor="t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1114716" y="1905000"/>
            <a:ext cx="8230154" cy="35171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0" indent="0">
              <a:spcBef>
                <a:spcPts val="600"/>
              </a:spcBef>
              <a:buNone/>
              <a:defRPr sz="1800"/>
            </a:lvl2pPr>
            <a:lvl3pPr marL="0" indent="0">
              <a:spcBef>
                <a:spcPts val="600"/>
              </a:spcBef>
              <a:buNone/>
              <a:defRPr sz="1800"/>
            </a:lvl3pPr>
            <a:lvl4pPr marL="0" indent="0">
              <a:spcBef>
                <a:spcPts val="600"/>
              </a:spcBef>
              <a:buNone/>
              <a:defRPr sz="1800"/>
            </a:lvl4pPr>
            <a:lvl5pPr marL="0" indent="0">
              <a:spcBef>
                <a:spcPts val="600"/>
              </a:spcBef>
              <a:buNone/>
              <a:defRPr sz="1800"/>
            </a:lvl5pPr>
            <a:lvl6pPr marL="0" indent="0">
              <a:spcBef>
                <a:spcPts val="600"/>
              </a:spcBef>
              <a:buNone/>
              <a:defRPr sz="1800"/>
            </a:lvl6pPr>
            <a:lvl7pPr marL="0" indent="0">
              <a:spcBef>
                <a:spcPts val="600"/>
              </a:spcBef>
              <a:buNone/>
              <a:defRPr sz="1800"/>
            </a:lvl7pPr>
            <a:lvl8pPr marL="0" indent="0">
              <a:spcBef>
                <a:spcPts val="600"/>
              </a:spcBef>
              <a:buNone/>
              <a:defRPr sz="1800"/>
            </a:lvl8pPr>
            <a:lvl9pPr marL="0" indent="0">
              <a:spcBef>
                <a:spcPts val="600"/>
              </a:spcBef>
              <a:buNone/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678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990600"/>
            <a:ext cx="8230154" cy="876300"/>
          </a:xfrm>
        </p:spPr>
        <p:txBody>
          <a:bodyPr anchor="t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760" y="1905000"/>
            <a:ext cx="8230154" cy="35171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0" indent="0">
              <a:spcBef>
                <a:spcPts val="600"/>
              </a:spcBef>
              <a:buNone/>
              <a:defRPr sz="1800"/>
            </a:lvl2pPr>
            <a:lvl3pPr marL="0" indent="0">
              <a:spcBef>
                <a:spcPts val="600"/>
              </a:spcBef>
              <a:buNone/>
              <a:defRPr sz="1800"/>
            </a:lvl3pPr>
            <a:lvl4pPr marL="0" indent="0">
              <a:spcBef>
                <a:spcPts val="600"/>
              </a:spcBef>
              <a:buNone/>
              <a:defRPr sz="1800"/>
            </a:lvl4pPr>
            <a:lvl5pPr marL="0" indent="0">
              <a:spcBef>
                <a:spcPts val="600"/>
              </a:spcBef>
              <a:buNone/>
              <a:defRPr sz="1800"/>
            </a:lvl5pPr>
            <a:lvl6pPr marL="0" indent="0">
              <a:spcBef>
                <a:spcPts val="600"/>
              </a:spcBef>
              <a:buNone/>
              <a:defRPr sz="1800"/>
            </a:lvl6pPr>
            <a:lvl7pPr marL="0" indent="0">
              <a:spcBef>
                <a:spcPts val="600"/>
              </a:spcBef>
              <a:buNone/>
              <a:defRPr sz="1800"/>
            </a:lvl7pPr>
            <a:lvl8pPr marL="0" indent="0">
              <a:spcBef>
                <a:spcPts val="600"/>
              </a:spcBef>
              <a:buNone/>
              <a:defRPr sz="1800"/>
            </a:lvl8pPr>
            <a:lvl9pPr marL="0" indent="0">
              <a:spcBef>
                <a:spcPts val="600"/>
              </a:spcBef>
              <a:buNone/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606457" y="6368079"/>
            <a:ext cx="819928" cy="33019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20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97534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647" y="5762684"/>
            <a:ext cx="1981588" cy="63088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647" y="392453"/>
            <a:ext cx="2485497" cy="996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15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2963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608964" y="690088"/>
            <a:ext cx="10975658" cy="46512"/>
          </a:xfrm>
          <a:prstGeom prst="rect">
            <a:avLst/>
          </a:prstGeom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758" y="990600"/>
            <a:ext cx="8231744" cy="1981200"/>
          </a:xfrm>
        </p:spPr>
        <p:txBody>
          <a:bodyPr anchor="t"/>
          <a:lstStyle>
            <a:lvl1pPr marL="292100" indent="-292100">
              <a:defRPr sz="4800" baseline="0"/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913050" y="3276600"/>
            <a:ext cx="792368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0" indent="0">
              <a:spcBef>
                <a:spcPts val="600"/>
              </a:spcBef>
              <a:buNone/>
              <a:defRPr sz="1800"/>
            </a:lvl2pPr>
            <a:lvl3pPr marL="0" indent="0">
              <a:spcBef>
                <a:spcPts val="600"/>
              </a:spcBef>
              <a:buNone/>
              <a:defRPr sz="1800"/>
            </a:lvl3pPr>
            <a:lvl4pPr marL="0" indent="0">
              <a:spcBef>
                <a:spcPts val="600"/>
              </a:spcBef>
              <a:buNone/>
              <a:defRPr sz="1800"/>
            </a:lvl4pPr>
            <a:lvl5pPr marL="0" indent="0">
              <a:spcBef>
                <a:spcPts val="600"/>
              </a:spcBef>
              <a:buNone/>
              <a:defRPr sz="1800"/>
            </a:lvl5pPr>
            <a:lvl6pPr marL="0" indent="0">
              <a:spcBef>
                <a:spcPts val="600"/>
              </a:spcBef>
              <a:buNone/>
              <a:defRPr sz="1800"/>
            </a:lvl6pPr>
            <a:lvl7pPr marL="0" indent="0">
              <a:spcBef>
                <a:spcPts val="600"/>
              </a:spcBef>
              <a:buNone/>
              <a:defRPr sz="1800"/>
            </a:lvl7pPr>
            <a:lvl8pPr marL="0" indent="0">
              <a:spcBef>
                <a:spcPts val="600"/>
              </a:spcBef>
              <a:buNone/>
              <a:defRPr sz="1800"/>
            </a:lvl8pPr>
            <a:lvl9pPr marL="0" indent="0">
              <a:spcBef>
                <a:spcPts val="600"/>
              </a:spcBef>
              <a:buNone/>
              <a:defRPr sz="18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138466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606457" y="6368079"/>
            <a:ext cx="819928" cy="33019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758" y="990600"/>
            <a:ext cx="8231744" cy="1981200"/>
          </a:xfrm>
        </p:spPr>
        <p:txBody>
          <a:bodyPr anchor="t"/>
          <a:lstStyle>
            <a:lvl1pPr marL="292100" indent="-292100">
              <a:defRPr sz="4800" baseline="0"/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913052" y="3276600"/>
            <a:ext cx="7923686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0" indent="0">
              <a:spcBef>
                <a:spcPts val="600"/>
              </a:spcBef>
              <a:buNone/>
              <a:defRPr sz="1800"/>
            </a:lvl2pPr>
            <a:lvl3pPr marL="0" indent="0">
              <a:spcBef>
                <a:spcPts val="600"/>
              </a:spcBef>
              <a:buNone/>
              <a:defRPr sz="1800"/>
            </a:lvl3pPr>
            <a:lvl4pPr marL="0" indent="0">
              <a:spcBef>
                <a:spcPts val="600"/>
              </a:spcBef>
              <a:buNone/>
              <a:defRPr sz="1800"/>
            </a:lvl4pPr>
            <a:lvl5pPr marL="0" indent="0">
              <a:spcBef>
                <a:spcPts val="600"/>
              </a:spcBef>
              <a:buNone/>
              <a:defRPr sz="1800"/>
            </a:lvl5pPr>
            <a:lvl6pPr marL="0" indent="0">
              <a:spcBef>
                <a:spcPts val="600"/>
              </a:spcBef>
              <a:buNone/>
              <a:defRPr sz="1800"/>
            </a:lvl6pPr>
            <a:lvl7pPr marL="0" indent="0">
              <a:spcBef>
                <a:spcPts val="600"/>
              </a:spcBef>
              <a:buNone/>
              <a:defRPr sz="1800"/>
            </a:lvl7pPr>
            <a:lvl8pPr marL="0" indent="0">
              <a:spcBef>
                <a:spcPts val="600"/>
              </a:spcBef>
              <a:buNone/>
              <a:defRPr sz="1800"/>
            </a:lvl8pPr>
            <a:lvl9pPr marL="0" indent="0">
              <a:spcBef>
                <a:spcPts val="600"/>
              </a:spcBef>
              <a:buNone/>
              <a:defRPr sz="18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3854285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08964" y="1172688"/>
            <a:ext cx="10975658" cy="46512"/>
          </a:xfrm>
          <a:prstGeom prst="rect">
            <a:avLst/>
          </a:prstGeom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339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08964" y="1172688"/>
            <a:ext cx="10975658" cy="46512"/>
          </a:xfrm>
          <a:prstGeom prst="rect">
            <a:avLst/>
          </a:prstGeom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828799"/>
            <a:ext cx="10972801" cy="4267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25880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0" indent="0">
              <a:spcBef>
                <a:spcPts val="600"/>
              </a:spcBef>
              <a:buNone/>
              <a:defRPr sz="1800"/>
            </a:lvl2pPr>
            <a:lvl3pPr marL="0" indent="0">
              <a:spcBef>
                <a:spcPts val="600"/>
              </a:spcBef>
              <a:buNone/>
              <a:defRPr sz="1800"/>
            </a:lvl3pPr>
            <a:lvl4pPr marL="0" indent="0">
              <a:spcBef>
                <a:spcPts val="600"/>
              </a:spcBef>
              <a:buNone/>
              <a:defRPr sz="1800"/>
            </a:lvl4pPr>
            <a:lvl5pPr marL="0" indent="0">
              <a:spcBef>
                <a:spcPts val="600"/>
              </a:spcBef>
              <a:buNone/>
              <a:defRPr sz="1800"/>
            </a:lvl5pPr>
            <a:lvl6pPr marL="0" indent="0">
              <a:spcBef>
                <a:spcPts val="600"/>
              </a:spcBef>
              <a:buNone/>
              <a:defRPr sz="1800"/>
            </a:lvl6pPr>
            <a:lvl7pPr marL="0" indent="0">
              <a:spcBef>
                <a:spcPts val="600"/>
              </a:spcBef>
              <a:buNone/>
              <a:defRPr sz="1800"/>
            </a:lvl7pPr>
            <a:lvl8pPr marL="0" indent="0">
              <a:spcBef>
                <a:spcPts val="600"/>
              </a:spcBef>
              <a:buNone/>
              <a:defRPr sz="1800"/>
            </a:lvl8pPr>
            <a:lvl9pPr marL="0" indent="0">
              <a:spcBef>
                <a:spcPts val="600"/>
              </a:spcBef>
              <a:buNone/>
              <a:defRPr sz="1800"/>
            </a:lvl9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11557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08964" y="1172688"/>
            <a:ext cx="10975658" cy="46512"/>
          </a:xfrm>
          <a:prstGeom prst="rect">
            <a:avLst/>
          </a:prstGeom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772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08964" y="1172688"/>
            <a:ext cx="10975658" cy="46512"/>
          </a:xfrm>
          <a:prstGeom prst="rect">
            <a:avLst/>
          </a:prstGeom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25880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0" indent="0">
              <a:spcBef>
                <a:spcPts val="600"/>
              </a:spcBef>
              <a:buNone/>
              <a:defRPr sz="1800"/>
            </a:lvl2pPr>
            <a:lvl3pPr marL="0" indent="0">
              <a:spcBef>
                <a:spcPts val="600"/>
              </a:spcBef>
              <a:buNone/>
              <a:defRPr sz="1800"/>
            </a:lvl3pPr>
            <a:lvl4pPr marL="0" indent="0">
              <a:spcBef>
                <a:spcPts val="600"/>
              </a:spcBef>
              <a:buNone/>
              <a:defRPr sz="1800"/>
            </a:lvl4pPr>
            <a:lvl5pPr marL="0" indent="0">
              <a:spcBef>
                <a:spcPts val="600"/>
              </a:spcBef>
              <a:buNone/>
              <a:defRPr sz="1800"/>
            </a:lvl5pPr>
            <a:lvl6pPr marL="0" indent="0">
              <a:spcBef>
                <a:spcPts val="600"/>
              </a:spcBef>
              <a:buNone/>
              <a:defRPr sz="1800"/>
            </a:lvl6pPr>
            <a:lvl7pPr marL="0" indent="0">
              <a:spcBef>
                <a:spcPts val="600"/>
              </a:spcBef>
              <a:buNone/>
              <a:defRPr sz="1800"/>
            </a:lvl7pPr>
            <a:lvl8pPr marL="0" indent="0">
              <a:spcBef>
                <a:spcPts val="600"/>
              </a:spcBef>
              <a:buNone/>
              <a:defRPr sz="1800"/>
            </a:lvl8pPr>
            <a:lvl9pPr marL="0" indent="0">
              <a:spcBef>
                <a:spcPts val="600"/>
              </a:spcBef>
              <a:buNone/>
              <a:defRPr sz="1800"/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08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08964" y="1172688"/>
            <a:ext cx="10975658" cy="46512"/>
          </a:xfrm>
          <a:prstGeom prst="rect">
            <a:avLst/>
          </a:prstGeom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47802"/>
            <a:ext cx="5304901" cy="464819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7499" y="1447802"/>
            <a:ext cx="5304901" cy="464819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96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2850"/>
            <a:ext cx="5304901" cy="27432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91440" indent="0">
              <a:buNone/>
              <a:defRPr sz="1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663700"/>
            <a:ext cx="5304901" cy="44323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7499" y="1212850"/>
            <a:ext cx="5304901" cy="27432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91440" indent="0">
              <a:buNone/>
              <a:defRPr sz="1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7499" y="1663700"/>
            <a:ext cx="5304901" cy="44323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19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236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34400" y="1172689"/>
            <a:ext cx="3048000" cy="4923313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>
          <a:xfrm>
            <a:off x="608963" y="1172688"/>
            <a:ext cx="7771345" cy="46512"/>
          </a:xfrm>
          <a:prstGeom prst="rect">
            <a:avLst/>
          </a:prstGeom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759" y="1447800"/>
            <a:ext cx="7772836" cy="4648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875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288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8171" y="1219200"/>
            <a:ext cx="6704298" cy="4868008"/>
          </a:xfrm>
        </p:spPr>
        <p:txBody>
          <a:bodyPr tIns="18288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467958" y="1219200"/>
            <a:ext cx="4115872" cy="4868008"/>
          </a:xfrm>
          <a:solidFill>
            <a:schemeClr val="accent2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162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030" y="304800"/>
            <a:ext cx="10972801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8171" y="1219200"/>
            <a:ext cx="5413244" cy="3657600"/>
          </a:xfrm>
        </p:spPr>
        <p:txBody>
          <a:bodyPr tIns="18288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8170" y="4953000"/>
            <a:ext cx="5413245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Picture Placeholder 2"/>
          <p:cNvSpPr>
            <a:spLocks noGrp="1"/>
          </p:cNvSpPr>
          <p:nvPr>
            <p:ph type="pic" idx="13"/>
          </p:nvPr>
        </p:nvSpPr>
        <p:spPr>
          <a:xfrm>
            <a:off x="6170587" y="1219200"/>
            <a:ext cx="5413244" cy="3657600"/>
          </a:xfrm>
        </p:spPr>
        <p:txBody>
          <a:bodyPr tIns="18288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4"/>
          </p:nvPr>
        </p:nvSpPr>
        <p:spPr>
          <a:xfrm>
            <a:off x="6170586" y="4953000"/>
            <a:ext cx="5413245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8804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08964" y="1172688"/>
            <a:ext cx="10975658" cy="46512"/>
          </a:xfrm>
          <a:prstGeom prst="rect">
            <a:avLst/>
          </a:prstGeom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5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570464" y="304801"/>
            <a:ext cx="1011936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599" y="304800"/>
            <a:ext cx="9602272" cy="5791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0440531" y="304800"/>
            <a:ext cx="45731" cy="5791200"/>
          </a:xfrm>
          <a:prstGeom prst="rect">
            <a:avLst/>
          </a:prstGeom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60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1960" y="1001854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41960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2"/>
            <a:ext cx="10826496" cy="4305300"/>
          </a:xfrm>
        </p:spPr>
        <p:txBody>
          <a:bodyPr wrap="square">
            <a:noAutofit/>
          </a:bodyPr>
          <a:lstStyle>
            <a:lvl1pPr marL="228594" indent="-228594">
              <a:buFont typeface="HP Simplified" pitchFamily="34" charset="0"/>
              <a:buChar char="•"/>
              <a:defRPr sz="1867" b="0">
                <a:solidFill>
                  <a:schemeClr val="tx1"/>
                </a:solidFill>
              </a:defRPr>
            </a:lvl1pPr>
            <a:lvl2pPr marL="457189" indent="-228594">
              <a:buSzPct val="80000"/>
              <a:buFont typeface="HP Simplified" pitchFamily="34" charset="0"/>
              <a:buChar char="–"/>
              <a:defRPr sz="1867">
                <a:solidFill>
                  <a:srgbClr val="000000"/>
                </a:solidFill>
              </a:defRPr>
            </a:lvl2pPr>
            <a:lvl3pPr marL="683667" indent="-226478">
              <a:defRPr sz="1867">
                <a:solidFill>
                  <a:srgbClr val="000000"/>
                </a:solidFill>
              </a:defRPr>
            </a:lvl3pPr>
            <a:lvl4pPr marL="920728" indent="-241294">
              <a:defRPr sz="1867">
                <a:solidFill>
                  <a:srgbClr val="000000"/>
                </a:solidFill>
              </a:defRPr>
            </a:lvl4pPr>
            <a:lvl5pPr marL="1111223" indent="-201079">
              <a:defRPr sz="1867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50004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8663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5813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7863840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8880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2578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8963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214424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205728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2434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4992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2910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8117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249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1600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3686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420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795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</a:t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472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2121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8332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88217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6863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630583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202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1D9E4B-6CD5-F233-B4B2-06E039F1C2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23B63E-89A7-542C-B512-843A483FF0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BC2A8A-2203-C887-A99A-7DB5715265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324BB4-512D-5872-A30C-71CCFA0A49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2835CD-0FE9-40B1-91AD-24D2D76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67776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753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048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282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630583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66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4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4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To change your section image, go to </a:t>
            </a:r>
            <a:r>
              <a:rPr lang="en-US" sz="1500">
                <a:solidFill>
                  <a:prstClr val="black"/>
                </a:solidFill>
                <a:latin typeface="MetricHPE Semibold"/>
              </a:rPr>
              <a:t>[View] </a:t>
            </a:r>
            <a:r>
              <a:rPr lang="en-US" sz="1500">
                <a:solidFill>
                  <a:prstClr val="black"/>
                </a:solidFill>
              </a:rPr>
              <a:t>-&gt; </a:t>
            </a:r>
            <a:r>
              <a:rPr lang="en-US" sz="1500">
                <a:solidFill>
                  <a:prstClr val="black"/>
                </a:solidFill>
                <a:latin typeface="MetricHPE Semibold"/>
              </a:rPr>
              <a:t>[Slide Master] </a:t>
            </a:r>
            <a:r>
              <a:rPr lang="en-US" sz="1500">
                <a:solidFill>
                  <a:prstClr val="black"/>
                </a:solidFill>
              </a:rPr>
              <a:t>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A collection of images specifically formatted for use as PPT title slides can be found </a:t>
            </a:r>
            <a:r>
              <a:rPr lang="en-US" sz="1500">
                <a:solidFill>
                  <a:prstClr val="black"/>
                </a:solidFill>
                <a:latin typeface="MetricHPE Semibold"/>
                <a:hlinkClick r:id="rId5"/>
              </a:rPr>
              <a:t>here</a:t>
            </a:r>
            <a:r>
              <a:rPr lang="en-US" sz="1500">
                <a:solidFill>
                  <a:prstClr val="black"/>
                </a:solidFill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  <a:latin typeface="MetricHPE Semibold"/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71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995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177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279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756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TextBox 12"/>
          <p:cNvSpPr txBox="1"/>
          <p:nvPr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 Light" panose="020B0303030202060203" pitchFamily="34" charset="0"/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 Light" panose="020B0303030202060203" pitchFamily="34" charset="0"/>
              </a:rPr>
              <a:t>To change your section image, go to </a:t>
            </a:r>
            <a:r>
              <a:rPr lang="en-US" sz="1500">
                <a:latin typeface="+mj-lt"/>
              </a:rPr>
              <a:t>[View] </a:t>
            </a:r>
            <a:r>
              <a:rPr lang="en-US" sz="1500">
                <a:latin typeface="MetricHPE Light" panose="020B0303030202060203" pitchFamily="34" charset="0"/>
              </a:rPr>
              <a:t>-&gt; </a:t>
            </a:r>
            <a:r>
              <a:rPr lang="en-US" sz="1500">
                <a:latin typeface="+mj-lt"/>
              </a:rPr>
              <a:t>[Slide Master] </a:t>
            </a:r>
            <a:r>
              <a:rPr lang="en-US" sz="1500">
                <a:latin typeface="MetricHPE Light" panose="020B0303030202060203" pitchFamily="34" charset="0"/>
              </a:rPr>
              <a:t>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 Light" panose="020B0303030202060203" pitchFamily="34" charset="0"/>
              </a:rPr>
              <a:t>A collection of images specifically formatted for use as PPT title slides can be found </a:t>
            </a:r>
            <a:r>
              <a:rPr lang="en-US" sz="1500">
                <a:latin typeface="+mj-lt"/>
                <a:hlinkClick r:id="rId4"/>
              </a:rPr>
              <a:t>here</a:t>
            </a:r>
            <a:r>
              <a:rPr lang="en-US" sz="1500">
                <a:latin typeface="MetricHPE Light" panose="020B0303030202060203" pitchFamily="34" charset="0"/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+mj-lt"/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err="1">
              <a:solidFill>
                <a:schemeClr val="bg1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1716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4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5649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111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107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8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30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721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522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56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640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6022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886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819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539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858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20"/>
          </p:nvPr>
        </p:nvSpPr>
        <p:spPr>
          <a:xfrm>
            <a:off x="389696" y="1017588"/>
            <a:ext cx="7864475" cy="5078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981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956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769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3" hasCustomPrompt="1"/>
          </p:nvPr>
        </p:nvSpPr>
        <p:spPr bwMode="ltGray">
          <a:xfrm>
            <a:off x="6214763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 hasCustomPrompt="1"/>
          </p:nvPr>
        </p:nvSpPr>
        <p:spPr>
          <a:xfrm>
            <a:off x="6206067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909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70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266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114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32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26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61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06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763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</a:t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453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52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237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590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5941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157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B1C4460-9D51-48F8-87F8-88E0DE4E454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19415EC-B287-40A3-A91D-E9356CAD1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9B5C71F-50B9-4243-83A7-A7AFAEFD58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58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99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92100" y="3413925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To change your section image, go to [View] -&gt; [Slide Master] 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A collection of images specifically formatted for use as PPT title slides can be found </a:t>
            </a:r>
            <a:r>
              <a:rPr lang="en-US" sz="1500">
                <a:solidFill>
                  <a:prstClr val="black"/>
                </a:solidFill>
                <a:hlinkClick r:id="rId4"/>
              </a:rPr>
              <a:t>here</a:t>
            </a:r>
            <a:r>
              <a:rPr lang="en-US" sz="1500">
                <a:solidFill>
                  <a:prstClr val="black"/>
                </a:solidFill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49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19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B607F37-173B-4A34-95FA-297523FEF6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4078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67728E-6D0A-492B-89E6-39E2244625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734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64B2CD-8FCB-4B30-B00B-A402E5693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0502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50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6867C9-FAEA-4AB9-9E4F-5E469CDF0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398" y="899032"/>
            <a:ext cx="9148360" cy="2862630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97CBB38-1E71-4985-B7D1-ACBC191C50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3761130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5096839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8162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8298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1746" y="1344281"/>
            <a:ext cx="11529254" cy="4751719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2337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8096" y="1733015"/>
            <a:ext cx="11522904" cy="4367541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MetricHPE" panose="020B0503030202060203" pitchFamily="34" charset="0"/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5" y="1350296"/>
            <a:ext cx="1151413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056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1235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4315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132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287008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818B02-6D3B-4B21-898C-712990E97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701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92414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97009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0449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276815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1411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0277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276923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2863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182288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0269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90" y="996365"/>
            <a:ext cx="363103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282832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233288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182290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8616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9" Type="http://schemas.openxmlformats.org/officeDocument/2006/relationships/image" Target="../media/image1.jpeg"/><Relationship Id="rId21" Type="http://schemas.openxmlformats.org/officeDocument/2006/relationships/slideLayout" Target="../slideLayouts/slideLayout61.xml"/><Relationship Id="rId34" Type="http://schemas.openxmlformats.org/officeDocument/2006/relationships/slideLayout" Target="../slideLayouts/slideLayout74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slideLayout" Target="../slideLayouts/slideLayout73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37" Type="http://schemas.openxmlformats.org/officeDocument/2006/relationships/slideLayout" Target="../slideLayouts/slideLayout77.xml"/><Relationship Id="rId40" Type="http://schemas.openxmlformats.org/officeDocument/2006/relationships/image" Target="../media/image6.png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36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35" Type="http://schemas.openxmlformats.org/officeDocument/2006/relationships/slideLayout" Target="../slideLayouts/slideLayout75.xml"/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9" Type="http://schemas.openxmlformats.org/officeDocument/2006/relationships/image" Target="../media/image8.png"/><Relationship Id="rId21" Type="http://schemas.openxmlformats.org/officeDocument/2006/relationships/slideLayout" Target="../slideLayouts/slideLayout98.xml"/><Relationship Id="rId34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33" Type="http://schemas.openxmlformats.org/officeDocument/2006/relationships/slideLayout" Target="../slideLayouts/slideLayout110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32" Type="http://schemas.openxmlformats.org/officeDocument/2006/relationships/slideLayout" Target="../slideLayouts/slideLayout109.xml"/><Relationship Id="rId37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36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31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Relationship Id="rId30" Type="http://schemas.openxmlformats.org/officeDocument/2006/relationships/slideLayout" Target="../slideLayouts/slideLayout107.xml"/><Relationship Id="rId35" Type="http://schemas.openxmlformats.org/officeDocument/2006/relationships/slideLayout" Target="../slideLayouts/slideLayout112.xml"/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26" Type="http://schemas.openxmlformats.org/officeDocument/2006/relationships/slideLayout" Target="../slideLayouts/slideLayout140.xml"/><Relationship Id="rId39" Type="http://schemas.openxmlformats.org/officeDocument/2006/relationships/theme" Target="../theme/theme4.xml"/><Relationship Id="rId21" Type="http://schemas.openxmlformats.org/officeDocument/2006/relationships/slideLayout" Target="../slideLayouts/slideLayout135.xml"/><Relationship Id="rId34" Type="http://schemas.openxmlformats.org/officeDocument/2006/relationships/slideLayout" Target="../slideLayouts/slideLayout148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121.xml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9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24" Type="http://schemas.openxmlformats.org/officeDocument/2006/relationships/slideLayout" Target="../slideLayouts/slideLayout138.xml"/><Relationship Id="rId32" Type="http://schemas.openxmlformats.org/officeDocument/2006/relationships/slideLayout" Target="../slideLayouts/slideLayout146.xml"/><Relationship Id="rId37" Type="http://schemas.openxmlformats.org/officeDocument/2006/relationships/slideLayout" Target="../slideLayouts/slideLayout151.xml"/><Relationship Id="rId40" Type="http://schemas.openxmlformats.org/officeDocument/2006/relationships/tags" Target="../tags/tag2.xml"/><Relationship Id="rId45" Type="http://schemas.openxmlformats.org/officeDocument/2006/relationships/image" Target="../media/image6.png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23" Type="http://schemas.openxmlformats.org/officeDocument/2006/relationships/slideLayout" Target="../slideLayouts/slideLayout137.xml"/><Relationship Id="rId28" Type="http://schemas.openxmlformats.org/officeDocument/2006/relationships/slideLayout" Target="../slideLayouts/slideLayout142.xml"/><Relationship Id="rId36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24.xml"/><Relationship Id="rId19" Type="http://schemas.openxmlformats.org/officeDocument/2006/relationships/slideLayout" Target="../slideLayouts/slideLayout133.xml"/><Relationship Id="rId31" Type="http://schemas.openxmlformats.org/officeDocument/2006/relationships/slideLayout" Target="../slideLayouts/slideLayout145.xml"/><Relationship Id="rId44" Type="http://schemas.openxmlformats.org/officeDocument/2006/relationships/image" Target="../media/image1.jpeg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Relationship Id="rId22" Type="http://schemas.openxmlformats.org/officeDocument/2006/relationships/slideLayout" Target="../slideLayouts/slideLayout136.xml"/><Relationship Id="rId27" Type="http://schemas.openxmlformats.org/officeDocument/2006/relationships/slideLayout" Target="../slideLayouts/slideLayout141.xml"/><Relationship Id="rId30" Type="http://schemas.openxmlformats.org/officeDocument/2006/relationships/slideLayout" Target="../slideLayouts/slideLayout144.xml"/><Relationship Id="rId35" Type="http://schemas.openxmlformats.org/officeDocument/2006/relationships/slideLayout" Target="../slideLayouts/slideLayout149.xml"/><Relationship Id="rId43" Type="http://schemas.openxmlformats.org/officeDocument/2006/relationships/image" Target="../media/image9.emf"/><Relationship Id="rId8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5" Type="http://schemas.openxmlformats.org/officeDocument/2006/relationships/slideLayout" Target="../slideLayouts/slideLayout139.xml"/><Relationship Id="rId33" Type="http://schemas.openxmlformats.org/officeDocument/2006/relationships/slideLayout" Target="../slideLayouts/slideLayout147.xml"/><Relationship Id="rId38" Type="http://schemas.openxmlformats.org/officeDocument/2006/relationships/slideLayout" Target="../slideLayouts/slideLayout152.xml"/><Relationship Id="rId20" Type="http://schemas.openxmlformats.org/officeDocument/2006/relationships/slideLayout" Target="../slideLayouts/slideLayout134.xml"/><Relationship Id="rId41" Type="http://schemas.openxmlformats.org/officeDocument/2006/relationships/tags" Target="../tags/tag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5.xml"/><Relationship Id="rId18" Type="http://schemas.openxmlformats.org/officeDocument/2006/relationships/slideLayout" Target="../slideLayouts/slideLayout170.xml"/><Relationship Id="rId26" Type="http://schemas.openxmlformats.org/officeDocument/2006/relationships/slideLayout" Target="../slideLayouts/slideLayout178.xml"/><Relationship Id="rId39" Type="http://schemas.openxmlformats.org/officeDocument/2006/relationships/slideLayout" Target="../slideLayouts/slideLayout191.xml"/><Relationship Id="rId21" Type="http://schemas.openxmlformats.org/officeDocument/2006/relationships/slideLayout" Target="../slideLayouts/slideLayout173.xml"/><Relationship Id="rId34" Type="http://schemas.openxmlformats.org/officeDocument/2006/relationships/slideLayout" Target="../slideLayouts/slideLayout186.xml"/><Relationship Id="rId42" Type="http://schemas.openxmlformats.org/officeDocument/2006/relationships/slideLayout" Target="../slideLayouts/slideLayout194.xml"/><Relationship Id="rId47" Type="http://schemas.openxmlformats.org/officeDocument/2006/relationships/image" Target="../media/image1.jpeg"/><Relationship Id="rId7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8.xml"/><Relationship Id="rId29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24" Type="http://schemas.openxmlformats.org/officeDocument/2006/relationships/slideLayout" Target="../slideLayouts/slideLayout176.xml"/><Relationship Id="rId32" Type="http://schemas.openxmlformats.org/officeDocument/2006/relationships/slideLayout" Target="../slideLayouts/slideLayout184.xml"/><Relationship Id="rId37" Type="http://schemas.openxmlformats.org/officeDocument/2006/relationships/slideLayout" Target="../slideLayouts/slideLayout189.xml"/><Relationship Id="rId40" Type="http://schemas.openxmlformats.org/officeDocument/2006/relationships/slideLayout" Target="../slideLayouts/slideLayout192.xml"/><Relationship Id="rId45" Type="http://schemas.openxmlformats.org/officeDocument/2006/relationships/oleObject" Target="../embeddings/oleObject2.bin"/><Relationship Id="rId5" Type="http://schemas.openxmlformats.org/officeDocument/2006/relationships/slideLayout" Target="../slideLayouts/slideLayout157.xml"/><Relationship Id="rId15" Type="http://schemas.openxmlformats.org/officeDocument/2006/relationships/slideLayout" Target="../slideLayouts/slideLayout167.xml"/><Relationship Id="rId23" Type="http://schemas.openxmlformats.org/officeDocument/2006/relationships/slideLayout" Target="../slideLayouts/slideLayout175.xml"/><Relationship Id="rId28" Type="http://schemas.openxmlformats.org/officeDocument/2006/relationships/slideLayout" Target="../slideLayouts/slideLayout180.xml"/><Relationship Id="rId36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162.xml"/><Relationship Id="rId19" Type="http://schemas.openxmlformats.org/officeDocument/2006/relationships/slideLayout" Target="../slideLayouts/slideLayout171.xml"/><Relationship Id="rId31" Type="http://schemas.openxmlformats.org/officeDocument/2006/relationships/slideLayout" Target="../slideLayouts/slideLayout183.xml"/><Relationship Id="rId44" Type="http://schemas.openxmlformats.org/officeDocument/2006/relationships/tags" Target="../tags/tag4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slideLayout" Target="../slideLayouts/slideLayout166.xml"/><Relationship Id="rId22" Type="http://schemas.openxmlformats.org/officeDocument/2006/relationships/slideLayout" Target="../slideLayouts/slideLayout174.xml"/><Relationship Id="rId27" Type="http://schemas.openxmlformats.org/officeDocument/2006/relationships/slideLayout" Target="../slideLayouts/slideLayout179.xml"/><Relationship Id="rId30" Type="http://schemas.openxmlformats.org/officeDocument/2006/relationships/slideLayout" Target="../slideLayouts/slideLayout182.xml"/><Relationship Id="rId35" Type="http://schemas.openxmlformats.org/officeDocument/2006/relationships/slideLayout" Target="../slideLayouts/slideLayout187.xml"/><Relationship Id="rId43" Type="http://schemas.openxmlformats.org/officeDocument/2006/relationships/theme" Target="../theme/theme5.xml"/><Relationship Id="rId48" Type="http://schemas.openxmlformats.org/officeDocument/2006/relationships/image" Target="../media/image6.png"/><Relationship Id="rId8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4.xml"/><Relationship Id="rId17" Type="http://schemas.openxmlformats.org/officeDocument/2006/relationships/slideLayout" Target="../slideLayouts/slideLayout169.xml"/><Relationship Id="rId25" Type="http://schemas.openxmlformats.org/officeDocument/2006/relationships/slideLayout" Target="../slideLayouts/slideLayout177.xml"/><Relationship Id="rId33" Type="http://schemas.openxmlformats.org/officeDocument/2006/relationships/slideLayout" Target="../slideLayouts/slideLayout185.xml"/><Relationship Id="rId38" Type="http://schemas.openxmlformats.org/officeDocument/2006/relationships/slideLayout" Target="../slideLayouts/slideLayout190.xml"/><Relationship Id="rId46" Type="http://schemas.openxmlformats.org/officeDocument/2006/relationships/image" Target="../media/image10.emf"/><Relationship Id="rId20" Type="http://schemas.openxmlformats.org/officeDocument/2006/relationships/slideLayout" Target="../slideLayouts/slideLayout172.xml"/><Relationship Id="rId41" Type="http://schemas.openxmlformats.org/officeDocument/2006/relationships/slideLayout" Target="../slideLayouts/slideLayout19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2.xml"/><Relationship Id="rId13" Type="http://schemas.openxmlformats.org/officeDocument/2006/relationships/slideLayout" Target="../slideLayouts/slideLayout207.xml"/><Relationship Id="rId18" Type="http://schemas.openxmlformats.org/officeDocument/2006/relationships/slideLayout" Target="../slideLayouts/slideLayout212.xml"/><Relationship Id="rId3" Type="http://schemas.openxmlformats.org/officeDocument/2006/relationships/slideLayout" Target="../slideLayouts/slideLayout197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201.xml"/><Relationship Id="rId12" Type="http://schemas.openxmlformats.org/officeDocument/2006/relationships/slideLayout" Target="../slideLayouts/slideLayout206.xml"/><Relationship Id="rId17" Type="http://schemas.openxmlformats.org/officeDocument/2006/relationships/slideLayout" Target="../slideLayouts/slideLayout211.xml"/><Relationship Id="rId2" Type="http://schemas.openxmlformats.org/officeDocument/2006/relationships/slideLayout" Target="../slideLayouts/slideLayout196.xml"/><Relationship Id="rId16" Type="http://schemas.openxmlformats.org/officeDocument/2006/relationships/slideLayout" Target="../slideLayouts/slideLayout210.xml"/><Relationship Id="rId20" Type="http://schemas.openxmlformats.org/officeDocument/2006/relationships/slideLayout" Target="../slideLayouts/slideLayout214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1" Type="http://schemas.openxmlformats.org/officeDocument/2006/relationships/slideLayout" Target="../slideLayouts/slideLayout205.xml"/><Relationship Id="rId5" Type="http://schemas.openxmlformats.org/officeDocument/2006/relationships/slideLayout" Target="../slideLayouts/slideLayout199.xml"/><Relationship Id="rId15" Type="http://schemas.openxmlformats.org/officeDocument/2006/relationships/slideLayout" Target="../slideLayouts/slideLayout209.xml"/><Relationship Id="rId10" Type="http://schemas.openxmlformats.org/officeDocument/2006/relationships/slideLayout" Target="../slideLayouts/slideLayout204.xml"/><Relationship Id="rId19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Relationship Id="rId14" Type="http://schemas.openxmlformats.org/officeDocument/2006/relationships/slideLayout" Target="../slideLayouts/slideLayout2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2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fld id="{B85ED672-14C8-4483-9652-64B1F1038EA7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0963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39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40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40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099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732" r:id="rId31"/>
    <p:sldLayoutId id="2147483733" r:id="rId32"/>
    <p:sldLayoutId id="2147483734" r:id="rId33"/>
    <p:sldLayoutId id="2147483735" r:id="rId34"/>
    <p:sldLayoutId id="2147483736" r:id="rId35"/>
    <p:sldLayoutId id="2147483737" r:id="rId36"/>
    <p:sldLayoutId id="2147483738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3000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2983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39"/>
              </a:buBlip>
              <a:defRPr sz="2000" kern="1200" cap="all" normalizeH="0" baseline="1000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304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  <p:sldLayoutId id="2147483774" r:id="rId35"/>
    <p:sldLayoutId id="2147483775" r:id="rId36"/>
    <p:sldLayoutId id="2147483776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25" imgH="426" progId="TCLayout.ActiveDocument.1">
                  <p:embed/>
                </p:oleObj>
              </mc:Choice>
              <mc:Fallback>
                <p:oleObj name="think-cell Slide" r:id="rId42" imgW="425" imgH="4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1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>
              <a:solidFill>
                <a:prstClr val="white"/>
              </a:solidFill>
              <a:latin typeface="MetricHPE Black" panose="020B0A03030202060203" pitchFamily="34" charset="0"/>
              <a:sym typeface="MetricHPE Black" panose="020B0A0303020206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4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45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45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720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4" r:id="rId27"/>
    <p:sldLayoutId id="2147483805" r:id="rId28"/>
    <p:sldLayoutId id="2147483806" r:id="rId29"/>
    <p:sldLayoutId id="2147483807" r:id="rId30"/>
    <p:sldLayoutId id="2147483808" r:id="rId31"/>
    <p:sldLayoutId id="2147483809" r:id="rId32"/>
    <p:sldLayoutId id="2147483810" r:id="rId33"/>
    <p:sldLayoutId id="2147483811" r:id="rId34"/>
    <p:sldLayoutId id="2147483812" r:id="rId35"/>
    <p:sldLayoutId id="2147483813" r:id="rId36"/>
    <p:sldLayoutId id="2147483814" r:id="rId37"/>
    <p:sldLayoutId id="2147483815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473" imgH="476" progId="TCLayout.ActiveDocument.1">
                  <p:embed/>
                </p:oleObj>
              </mc:Choice>
              <mc:Fallback>
                <p:oleObj name="think-cell Slide" r:id="rId45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7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48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48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008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31" r:id="rId15"/>
    <p:sldLayoutId id="2147483832" r:id="rId16"/>
    <p:sldLayoutId id="2147483833" r:id="rId17"/>
    <p:sldLayoutId id="2147483834" r:id="rId18"/>
    <p:sldLayoutId id="2147483835" r:id="rId19"/>
    <p:sldLayoutId id="2147483836" r:id="rId20"/>
    <p:sldLayoutId id="2147483837" r:id="rId21"/>
    <p:sldLayoutId id="2147483838" r:id="rId22"/>
    <p:sldLayoutId id="2147483839" r:id="rId23"/>
    <p:sldLayoutId id="2147483840" r:id="rId24"/>
    <p:sldLayoutId id="2147483841" r:id="rId25"/>
    <p:sldLayoutId id="2147483842" r:id="rId26"/>
    <p:sldLayoutId id="2147483843" r:id="rId27"/>
    <p:sldLayoutId id="2147483844" r:id="rId28"/>
    <p:sldLayoutId id="2147483845" r:id="rId29"/>
    <p:sldLayoutId id="2147483846" r:id="rId30"/>
    <p:sldLayoutId id="2147483847" r:id="rId31"/>
    <p:sldLayoutId id="2147483848" r:id="rId32"/>
    <p:sldLayoutId id="2147483849" r:id="rId33"/>
    <p:sldLayoutId id="2147483850" r:id="rId34"/>
    <p:sldLayoutId id="2147483851" r:id="rId35"/>
    <p:sldLayoutId id="2147483852" r:id="rId36"/>
    <p:sldLayoutId id="2147483853" r:id="rId37"/>
    <p:sldLayoutId id="2147483854" r:id="rId38"/>
    <p:sldLayoutId id="2147483855" r:id="rId39"/>
    <p:sldLayoutId id="2147483856" r:id="rId40"/>
    <p:sldLayoutId id="2147483857" r:id="rId41"/>
    <p:sldLayoutId id="2147483858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1451"/>
            <a:ext cx="10972801" cy="46545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87218" y="6480905"/>
            <a:ext cx="812800" cy="219456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612281" y="6478524"/>
            <a:ext cx="4573191" cy="219456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77600" y="6478524"/>
            <a:ext cx="304800" cy="219456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06457" y="6368079"/>
            <a:ext cx="819928" cy="330199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8715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  <p:sldLayoutId id="2147483873" r:id="rId14"/>
    <p:sldLayoutId id="2147483874" r:id="rId15"/>
    <p:sldLayoutId id="2147483875" r:id="rId16"/>
    <p:sldLayoutId id="2147483876" r:id="rId17"/>
    <p:sldLayoutId id="2147483877" r:id="rId18"/>
    <p:sldLayoutId id="2147483878" r:id="rId19"/>
    <p:sldLayoutId id="2147483879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Metric Bold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Metric Regular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Metric Bold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Metric Regular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Metric Bold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Metric Regular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Metric Bold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Metric Regular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Metric Bold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jumpingrivers.github.io/datasauRus/" TargetMode="External"/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mailto:eitan.Frachtenberg@hpe.com" TargetMode="External"/><Relationship Id="rId2" Type="http://schemas.openxmlformats.org/officeDocument/2006/relationships/hyperlink" Target="https://github.com/HewlettPackard/SHARP" TargetMode="Externa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BAF3E01-10C6-9645-4FA9-CB405731F8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647" y="1869197"/>
            <a:ext cx="11423555" cy="1905000"/>
          </a:xfrm>
        </p:spPr>
        <p:txBody>
          <a:bodyPr/>
          <a:lstStyle/>
          <a:p>
            <a:pPr algn="ctr"/>
            <a:r>
              <a:rPr lang="en-US" dirty="0"/>
              <a:t>Sharp:</a:t>
            </a:r>
            <a:br>
              <a:rPr lang="en-US" dirty="0"/>
            </a:br>
            <a:r>
              <a:rPr lang="en-US" dirty="0"/>
              <a:t>A Distribution-based framework for reproducible performance evaluation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F18F2FF-1CDD-8D95-4AF6-AE7EE3B419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9646" y="4133088"/>
            <a:ext cx="11517713" cy="438912"/>
          </a:xfrm>
        </p:spPr>
        <p:txBody>
          <a:bodyPr/>
          <a:lstStyle/>
          <a:p>
            <a:r>
              <a:rPr lang="en-US" dirty="0"/>
              <a:t>Viyom Mittal, Pedro Bruel, Michalis Faloutsos, Dejan Milojicic, </a:t>
            </a:r>
            <a:r>
              <a:rPr lang="en-US" u="sng" dirty="0"/>
              <a:t>Eitan Frachtenberg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F7C20B0-145E-000B-999B-61CA72188E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9647" y="4577983"/>
            <a:ext cx="5489575" cy="908050"/>
          </a:xfrm>
        </p:spPr>
        <p:txBody>
          <a:bodyPr/>
          <a:lstStyle/>
          <a:p>
            <a:r>
              <a:rPr lang="en-US" dirty="0"/>
              <a:t>September 16, 2024</a:t>
            </a:r>
          </a:p>
        </p:txBody>
      </p:sp>
    </p:spTree>
    <p:extLst>
      <p:ext uri="{BB962C8B-B14F-4D97-AF65-F5344CB8AC3E}">
        <p14:creationId xmlns:p14="http://schemas.microsoft.com/office/powerpoint/2010/main" val="2947588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609"/>
    </mc:Choice>
    <mc:Fallback xmlns="">
      <p:transition advTm="2609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7C47CD-F366-9E15-AB09-4FC5DE6CD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696" y="304325"/>
            <a:ext cx="11421304" cy="427036"/>
          </a:xfrm>
        </p:spPr>
        <p:txBody>
          <a:bodyPr/>
          <a:lstStyle/>
          <a:p>
            <a:r>
              <a:rPr lang="en-US" sz="4000"/>
              <a:t>Main features</a:t>
            </a:r>
            <a:endParaRPr lang="en-GB" sz="4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C2856F-D690-0F0B-8511-25856E6B4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pPr marL="461963" indent="-461963"/>
            <a:r>
              <a:rPr lang="en-US" sz="4800" dirty="0"/>
              <a:t>Distribution-first approach</a:t>
            </a:r>
          </a:p>
          <a:p>
            <a:pPr marL="461963" indent="-461963"/>
            <a:r>
              <a:rPr lang="en-US" sz="4800" dirty="0"/>
              <a:t>Automated stopping rules</a:t>
            </a:r>
          </a:p>
          <a:p>
            <a:pPr marL="461963" indent="-461963"/>
            <a:r>
              <a:rPr lang="en-US" sz="4800" dirty="0"/>
              <a:t>Composable, configurable backends</a:t>
            </a:r>
          </a:p>
          <a:p>
            <a:pPr marL="461963" indent="-461963"/>
            <a:r>
              <a:rPr lang="en-US" sz="4800" dirty="0"/>
              <a:t>Complete reports and records with SUT  description, experiment artifacts, and statistics</a:t>
            </a:r>
          </a:p>
          <a:p>
            <a:pPr marL="461963" indent="-461963"/>
            <a:r>
              <a:rPr lang="en-GB" sz="4800" dirty="0"/>
              <a:t>Integrated benchmarking environment (IBE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54D6DE-33A4-7016-32A4-4EA309D73D5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3552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7C47CD-F366-9E15-AB09-4FC5DE6CD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696" y="313561"/>
            <a:ext cx="11421304" cy="427036"/>
          </a:xfrm>
        </p:spPr>
        <p:txBody>
          <a:bodyPr/>
          <a:lstStyle/>
          <a:p>
            <a:r>
              <a:rPr lang="en-US" sz="4000"/>
              <a:t>Distribution-first approach</a:t>
            </a:r>
            <a:endParaRPr lang="en-GB" sz="4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C2856F-D690-0F0B-8511-25856E6B4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4800"/>
              <a:t>Summary statistics of performance like mean or standard deviation can miss the big picture</a:t>
            </a:r>
            <a:endParaRPr lang="en-GB" sz="480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0B9E301B-6C39-F820-F41D-4A494B9740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115" y="2623503"/>
            <a:ext cx="8048796" cy="3216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89D4673-C854-810A-D3F8-CC9CFBF7D6A0}"/>
              </a:ext>
            </a:extLst>
          </p:cNvPr>
          <p:cNvSpPr txBox="1"/>
          <p:nvPr/>
        </p:nvSpPr>
        <p:spPr>
          <a:xfrm>
            <a:off x="1127760" y="5842000"/>
            <a:ext cx="9550400" cy="25400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GB">
                <a:hlinkClick r:id="rId3"/>
              </a:rPr>
              <a:t>Datasets from the </a:t>
            </a:r>
            <a:r>
              <a:rPr lang="en-GB" err="1">
                <a:hlinkClick r:id="rId3"/>
              </a:rPr>
              <a:t>Datasaurus</a:t>
            </a:r>
            <a:r>
              <a:rPr lang="en-GB">
                <a:hlinkClick r:id="rId3"/>
              </a:rPr>
              <a:t> Dozen • </a:t>
            </a:r>
            <a:r>
              <a:rPr lang="en-GB" err="1">
                <a:hlinkClick r:id="rId3"/>
              </a:rPr>
              <a:t>datasauRus</a:t>
            </a:r>
            <a:r>
              <a:rPr lang="en-GB">
                <a:hlinkClick r:id="rId3"/>
              </a:rPr>
              <a:t> (jumpingrivers.github.io)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6B1B82-3444-672E-444E-C5996BA80F7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2503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3BF56-68BD-C4E1-2967-123505371B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696" y="211959"/>
            <a:ext cx="11802304" cy="427036"/>
          </a:xfrm>
        </p:spPr>
        <p:txBody>
          <a:bodyPr/>
          <a:lstStyle/>
          <a:p>
            <a:r>
              <a:rPr lang="en-US" sz="4000"/>
              <a:t>point summaries vs. whole distributions</a:t>
            </a:r>
            <a:endParaRPr lang="en-GB" sz="4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462122-BC76-A437-01B9-5F8BBD8BA9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Scenario: compare 1000 runs of benchmark “hotspot” on 5 different days on same machine.</a:t>
            </a:r>
            <a:br>
              <a:rPr lang="en-US"/>
            </a:br>
            <a:r>
              <a:rPr lang="en-US"/>
              <a:t>Normalized mean absolute difference (NAMD) vs. Kolmogorov-Smirnoff (KS) distance</a:t>
            </a:r>
            <a:endParaRPr lang="en-GB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65B66661-1FD1-AAAB-E131-D93D0A16E0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51" y="1918822"/>
            <a:ext cx="9267895" cy="4788234"/>
          </a:xfrm>
          <a:prstGeom prst="rect">
            <a:avLst/>
          </a:prstGeom>
        </p:spPr>
      </p:pic>
      <p:pic>
        <p:nvPicPr>
          <p:cNvPr id="8" name="Picture 7" descr="A graph of a function&#10;&#10;Description automatically generated with medium confidence">
            <a:extLst>
              <a:ext uri="{FF2B5EF4-FFF2-40B4-BE49-F238E27FC236}">
                <a16:creationId xmlns:a16="http://schemas.microsoft.com/office/drawing/2014/main" id="{E14EEEDF-860B-73E0-1752-F2647ED213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271" y="1653838"/>
            <a:ext cx="12023035" cy="520416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8FAC70-4721-F072-E333-75707746F9C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2996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7C47CD-F366-9E15-AB09-4FC5DE6CD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696" y="322797"/>
            <a:ext cx="11421304" cy="427036"/>
          </a:xfrm>
        </p:spPr>
        <p:txBody>
          <a:bodyPr/>
          <a:lstStyle/>
          <a:p>
            <a:r>
              <a:rPr lang="en-US" sz="4000"/>
              <a:t>Automated stopping ru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C2856F-D690-0F0B-8511-25856E6B4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pPr marL="341313" lvl="1" indent="-341313">
              <a:lnSpc>
                <a:spcPct val="80000"/>
              </a:lnSpc>
            </a:pPr>
            <a:r>
              <a:rPr lang="en-US" sz="4300"/>
              <a:t>Running an experiment too long is wasteful; running it too short is statistically unstable</a:t>
            </a:r>
          </a:p>
          <a:p>
            <a:pPr marL="341313" lvl="1" indent="-341313">
              <a:lnSpc>
                <a:spcPct val="80000"/>
              </a:lnSpc>
            </a:pPr>
            <a:r>
              <a:rPr lang="en-US" sz="4300"/>
              <a:t>The optimal stopping point depends on the performance distribution and experimental constraints</a:t>
            </a:r>
          </a:p>
          <a:p>
            <a:pPr marL="341313" lvl="1" indent="-341313">
              <a:lnSpc>
                <a:spcPct val="80000"/>
              </a:lnSpc>
            </a:pPr>
            <a:r>
              <a:rPr lang="en-US" sz="4300"/>
              <a:t>If you know the distribution, you can choose an automated stopping rule from SHARP’s library</a:t>
            </a:r>
          </a:p>
          <a:p>
            <a:pPr marL="341313" lvl="1" indent="-341313">
              <a:lnSpc>
                <a:spcPct val="80000"/>
              </a:lnSpc>
            </a:pPr>
            <a:r>
              <a:rPr lang="en-US" sz="4300"/>
              <a:t>If you don’t, you can let SHARP automatically detect it for you at run time, or check self-similarity</a:t>
            </a:r>
            <a:endParaRPr lang="en-GB" sz="43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B1CC0A-A2EA-42CD-D7AC-796BF9CB7C4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6607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4D2C69-5910-5C5B-E5BB-13B8EA313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696" y="295089"/>
            <a:ext cx="11421304" cy="427036"/>
          </a:xfrm>
        </p:spPr>
        <p:txBody>
          <a:bodyPr/>
          <a:lstStyle/>
          <a:p>
            <a:r>
              <a:rPr lang="en-US" sz="4000" err="1"/>
              <a:t>Autostop</a:t>
            </a:r>
            <a:r>
              <a:rPr lang="en-US" sz="4000"/>
              <a:t> examples</a:t>
            </a:r>
            <a:endParaRPr lang="en-GB" sz="4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E3D17C-583F-E815-A4CD-AD6D8AC3B1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</a:t>
            </a:r>
            <a:r>
              <a:rPr lang="en-GB" dirty="0" err="1"/>
              <a:t>omparing</a:t>
            </a:r>
            <a:r>
              <a:rPr lang="en-GB" dirty="0"/>
              <a:t> different stopping rules to the “ground truth” measured over 5,000 repetitions for `</a:t>
            </a:r>
            <a:r>
              <a:rPr lang="en-GB" dirty="0" err="1"/>
              <a:t>bfs</a:t>
            </a:r>
            <a:r>
              <a:rPr lang="en-GB" dirty="0"/>
              <a:t>’ and `</a:t>
            </a:r>
            <a:r>
              <a:rPr lang="en-GB" dirty="0" err="1"/>
              <a:t>lavaMD</a:t>
            </a:r>
            <a:r>
              <a:rPr lang="en-GB"/>
              <a:t>’</a:t>
            </a:r>
            <a:endParaRPr lang="en-US" dirty="0"/>
          </a:p>
        </p:txBody>
      </p:sp>
      <p:pic>
        <p:nvPicPr>
          <p:cNvPr id="9" name="Picture 8" descr="A screenshot of a graph&#10;&#10;Description automatically generated">
            <a:extLst>
              <a:ext uri="{FF2B5EF4-FFF2-40B4-BE49-F238E27FC236}">
                <a16:creationId xmlns:a16="http://schemas.microsoft.com/office/drawing/2014/main" id="{DEA27D57-58A2-DB8C-701D-A1E7406389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18" y="4100232"/>
            <a:ext cx="11942458" cy="2103551"/>
          </a:xfrm>
          <a:prstGeom prst="rect">
            <a:avLst/>
          </a:prstGeom>
        </p:spPr>
      </p:pic>
      <p:pic>
        <p:nvPicPr>
          <p:cNvPr id="11" name="Picture 10" descr="A graph with numbers and lines&#10;&#10;Description automatically generated with medium confidence">
            <a:extLst>
              <a:ext uri="{FF2B5EF4-FFF2-40B4-BE49-F238E27FC236}">
                <a16:creationId xmlns:a16="http://schemas.microsoft.com/office/drawing/2014/main" id="{45F07FC5-E7B2-7F98-6397-0362BCC1C2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63" y="1636149"/>
            <a:ext cx="11844604" cy="205164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7B890-F932-A459-0F8F-6DCBEF329AE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4172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D1E9CF-046B-CF66-7BB5-EE2E3FF4D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696" y="304325"/>
            <a:ext cx="11421304" cy="427036"/>
          </a:xfrm>
        </p:spPr>
        <p:txBody>
          <a:bodyPr/>
          <a:lstStyle/>
          <a:p>
            <a:r>
              <a:rPr lang="en-US" sz="4000"/>
              <a:t>Resource savings with the </a:t>
            </a:r>
            <a:r>
              <a:rPr lang="en-US" sz="4000" err="1"/>
              <a:t>ks</a:t>
            </a:r>
            <a:r>
              <a:rPr lang="en-US" sz="4000"/>
              <a:t> auto-stop rule</a:t>
            </a:r>
            <a:endParaRPr lang="en-GB" sz="4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957C29-8524-0F58-361C-70A83EBDE2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5918" y="1042371"/>
            <a:ext cx="4572594" cy="5472729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en-US" sz="2400"/>
              <a:t>Running each experiment 1,000 times is sufficient to capture the distribution well most times but is wasteful.</a:t>
            </a:r>
          </a:p>
          <a:p>
            <a:r>
              <a:rPr lang="en-US" sz="2400"/>
              <a:t>Setting the limit arbitrarily lower would miss more benchmarks, yielding unrepresentative performance.</a:t>
            </a:r>
          </a:p>
          <a:p>
            <a:r>
              <a:rPr lang="en-US" sz="2400"/>
              <a:t>Automated stopping rule can adaptively decide when to stop. In this example, checking when the performance distribution is stable according to a Kolmogorov-Smirnoff distance metric.</a:t>
            </a:r>
          </a:p>
          <a:p>
            <a:r>
              <a:rPr lang="en-US" sz="2400"/>
              <a:t>Stopping early produces the same distribution as with 1,000 runs, but with far fewer runs, depending on the specific benchmark.</a:t>
            </a:r>
            <a:endParaRPr lang="en-GB" sz="240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36FFB0E7-AA26-0D68-2415-43039A1A7A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5472" y="814485"/>
            <a:ext cx="6857048" cy="5950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719476-E39C-339F-FCB7-552BBB16FA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685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7C47CD-F366-9E15-AB09-4FC5DE6CD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696" y="276617"/>
            <a:ext cx="11421304" cy="427036"/>
          </a:xfrm>
        </p:spPr>
        <p:txBody>
          <a:bodyPr/>
          <a:lstStyle/>
          <a:p>
            <a:r>
              <a:rPr lang="en-US" sz="4000"/>
              <a:t>Composable, Configurable backends</a:t>
            </a:r>
            <a:endParaRPr lang="en-GB" sz="4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C2856F-D690-0F0B-8511-25856E6B4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4800"/>
              <a:t>Design goals for backends:</a:t>
            </a:r>
          </a:p>
          <a:p>
            <a:pPr marL="341313" lvl="1" indent="-341313"/>
            <a:r>
              <a:rPr lang="en-US" sz="4600"/>
              <a:t>Flexibility to add or modify with no code</a:t>
            </a:r>
          </a:p>
          <a:p>
            <a:pPr marL="341313" lvl="1" indent="-341313">
              <a:lnSpc>
                <a:spcPct val="100000"/>
              </a:lnSpc>
            </a:pPr>
            <a:r>
              <a:rPr lang="en-US" sz="4600"/>
              <a:t>Ability to add arbitrary metric collection</a:t>
            </a:r>
          </a:p>
          <a:p>
            <a:pPr marL="341313" lvl="1" indent="-341313">
              <a:lnSpc>
                <a:spcPct val="100000"/>
              </a:lnSpc>
            </a:pPr>
            <a:r>
              <a:rPr lang="en-US" sz="4600"/>
              <a:t>Composability to allow tunneling and aggregation</a:t>
            </a:r>
          </a:p>
          <a:p>
            <a:endParaRPr lang="en-US" sz="4800"/>
          </a:p>
          <a:p>
            <a:pPr marL="0" indent="0">
              <a:buNone/>
            </a:pPr>
            <a:r>
              <a:rPr lang="en-US" sz="4800"/>
              <a:t>SHARP’s approach: everything is configurable, including metrics, in YAML/JSON files</a:t>
            </a:r>
          </a:p>
          <a:p>
            <a:endParaRPr lang="en-GB" sz="48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E22CAE-BEC7-4E12-189D-2F5E708DD4B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990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449DCA6-7540-7412-8EB0-01A1FA0938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4243" y="65278"/>
            <a:ext cx="9331608" cy="677947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1F8E26-E860-76FC-4168-CF5709CD2C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51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7C47CD-F366-9E15-AB09-4FC5DE6CD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696" y="304325"/>
            <a:ext cx="11421304" cy="427036"/>
          </a:xfrm>
        </p:spPr>
        <p:txBody>
          <a:bodyPr/>
          <a:lstStyle/>
          <a:p>
            <a:r>
              <a:rPr lang="en-US" sz="4000"/>
              <a:t>repor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C2856F-D690-0F0B-8511-25856E6B4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4800"/>
              <a:t>SHARP’s approach to recording and reporting:</a:t>
            </a:r>
          </a:p>
          <a:p>
            <a:pPr marL="341313" lvl="1" indent="-341313">
              <a:lnSpc>
                <a:spcPct val="100000"/>
              </a:lnSpc>
            </a:pPr>
            <a:r>
              <a:rPr lang="en-US" sz="5000"/>
              <a:t>Record all experimental results in tidy-data format</a:t>
            </a:r>
          </a:p>
          <a:p>
            <a:pPr marL="341313" lvl="1" indent="-341313">
              <a:lnSpc>
                <a:spcPct val="100000"/>
              </a:lnSpc>
            </a:pPr>
            <a:r>
              <a:rPr lang="en-US" sz="5000"/>
              <a:t>Record all metadata: experiment parameters, SUT details, git hash, field descriptions</a:t>
            </a:r>
          </a:p>
          <a:p>
            <a:pPr marL="341313" lvl="1" indent="-341313">
              <a:lnSpc>
                <a:spcPct val="100000"/>
              </a:lnSpc>
            </a:pPr>
            <a:r>
              <a:rPr lang="en-US" sz="5000"/>
              <a:t>Provide a library of statistical analysis and visualization tools to simplify report writing.</a:t>
            </a:r>
          </a:p>
          <a:p>
            <a:pPr marL="341313" lvl="1" indent="-341313">
              <a:lnSpc>
                <a:spcPct val="100000"/>
              </a:lnSpc>
            </a:pPr>
            <a:r>
              <a:rPr lang="en-US" sz="5000"/>
              <a:t>Produce reports from benchmark runs in multiple formats: PDF, LaTeX, PPTX, DOCX, HTML, .etc. </a:t>
            </a:r>
            <a:endParaRPr lang="en-GB" sz="5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1D8501-3264-B060-0B8D-1360DB326B8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810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7C47CD-F366-9E15-AB09-4FC5DE6CD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696" y="267381"/>
            <a:ext cx="11421304" cy="427036"/>
          </a:xfrm>
        </p:spPr>
        <p:txBody>
          <a:bodyPr/>
          <a:lstStyle/>
          <a:p>
            <a:r>
              <a:rPr lang="en-GB" sz="4000"/>
              <a:t>Integrated benchmarking environ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C2856F-D690-0F0B-8511-25856E6B4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4800" dirty="0"/>
              <a:t>SHARP includes a GUI that lets your visualize and interact with performance distributions.</a:t>
            </a:r>
          </a:p>
          <a:p>
            <a:pPr marL="0" indent="0">
              <a:buNone/>
            </a:pPr>
            <a:r>
              <a:rPr lang="en-US" sz="4800" dirty="0"/>
              <a:t>It is fully containerized to include dependencies</a:t>
            </a:r>
          </a:p>
          <a:p>
            <a:pPr marL="0" indent="0">
              <a:buNone/>
            </a:pPr>
            <a:r>
              <a:rPr lang="en-US" sz="4800" dirty="0"/>
              <a:t>It is also Web-based; run client on any browser</a:t>
            </a:r>
          </a:p>
          <a:p>
            <a:pPr marL="0" indent="0">
              <a:buNone/>
            </a:pPr>
            <a:endParaRPr lang="en-GB" sz="4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67C63F-92A2-C3C3-FD86-EB66FB9A6D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7809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0DBBFC45-0D16-7B22-C811-70043D739BE9}"/>
              </a:ext>
            </a:extLst>
          </p:cNvPr>
          <p:cNvGrpSpPr/>
          <p:nvPr/>
        </p:nvGrpSpPr>
        <p:grpSpPr>
          <a:xfrm>
            <a:off x="4053681" y="4247064"/>
            <a:ext cx="4256937" cy="2505173"/>
            <a:chOff x="5744090" y="1862971"/>
            <a:chExt cx="4256937" cy="2505173"/>
          </a:xfrm>
        </p:grpSpPr>
        <p:sp>
          <p:nvSpPr>
            <p:cNvPr id="5" name="Flowchart: Connector 4">
              <a:extLst>
                <a:ext uri="{FF2B5EF4-FFF2-40B4-BE49-F238E27FC236}">
                  <a16:creationId xmlns:a16="http://schemas.microsoft.com/office/drawing/2014/main" id="{0FDDB8FD-4291-B718-A1B9-857A2896A9A2}"/>
                </a:ext>
              </a:extLst>
            </p:cNvPr>
            <p:cNvSpPr/>
            <p:nvPr/>
          </p:nvSpPr>
          <p:spPr bwMode="ltGray">
            <a:xfrm>
              <a:off x="7234653" y="1862971"/>
              <a:ext cx="2766374" cy="2505173"/>
            </a:xfrm>
            <a:prstGeom prst="flowChartConnector">
              <a:avLst/>
            </a:prstGeom>
            <a:solidFill>
              <a:srgbClr val="F5562B">
                <a:alpha val="50196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158F7A5-BD95-F91A-7C33-D69FEFB7DC77}"/>
                </a:ext>
              </a:extLst>
            </p:cNvPr>
            <p:cNvSpPr txBox="1"/>
            <p:nvPr/>
          </p:nvSpPr>
          <p:spPr>
            <a:xfrm>
              <a:off x="5744090" y="2740067"/>
              <a:ext cx="1999661" cy="610386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182880" tIns="182880" rIns="182880" bIns="18288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r>
                <a:rPr lang="en-US" sz="2400"/>
                <a:t>Hardware</a:t>
              </a:r>
              <a:endParaRPr lang="en-GB" sz="240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E2E041A-8F33-6150-3457-DC20123020AE}"/>
                </a:ext>
              </a:extLst>
            </p:cNvPr>
            <p:cNvSpPr txBox="1"/>
            <p:nvPr/>
          </p:nvSpPr>
          <p:spPr>
            <a:xfrm>
              <a:off x="7270192" y="2382425"/>
              <a:ext cx="1945513" cy="1132968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182880" tIns="182880" rIns="182880" bIns="182880" rtlCol="0">
              <a:noAutofit/>
            </a:bodyPr>
            <a:lstStyle/>
            <a:p>
              <a:pPr algn="r">
                <a:lnSpc>
                  <a:spcPct val="90000"/>
                </a:lnSpc>
                <a:spcBef>
                  <a:spcPts val="400"/>
                </a:spcBef>
              </a:pPr>
              <a:r>
                <a:rPr lang="en-US" sz="2400"/>
                <a:t>GPUs, </a:t>
              </a:r>
              <a:br>
                <a:rPr lang="en-US" sz="2400"/>
              </a:br>
              <a:r>
                <a:rPr lang="en-US" sz="2400"/>
                <a:t>Smart NICs, </a:t>
              </a:r>
              <a:br>
                <a:rPr lang="en-US" sz="2400"/>
              </a:br>
              <a:r>
                <a:rPr lang="en-US" sz="2400"/>
                <a:t>FPGAs</a:t>
              </a:r>
              <a:endParaRPr lang="en-GB" sz="240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6228030-2BE7-F5B6-1EE8-7F589F2F8E14}"/>
              </a:ext>
            </a:extLst>
          </p:cNvPr>
          <p:cNvGrpSpPr/>
          <p:nvPr/>
        </p:nvGrpSpPr>
        <p:grpSpPr>
          <a:xfrm>
            <a:off x="1743360" y="2211683"/>
            <a:ext cx="5037536" cy="2505173"/>
            <a:chOff x="2149735" y="3707901"/>
            <a:chExt cx="5037536" cy="2505173"/>
          </a:xfrm>
        </p:grpSpPr>
        <p:sp>
          <p:nvSpPr>
            <p:cNvPr id="8" name="Flowchart: Connector 7">
              <a:extLst>
                <a:ext uri="{FF2B5EF4-FFF2-40B4-BE49-F238E27FC236}">
                  <a16:creationId xmlns:a16="http://schemas.microsoft.com/office/drawing/2014/main" id="{5894A411-EFCA-3F07-67D9-BFE2917DD05C}"/>
                </a:ext>
              </a:extLst>
            </p:cNvPr>
            <p:cNvSpPr/>
            <p:nvPr/>
          </p:nvSpPr>
          <p:spPr bwMode="ltGray">
            <a:xfrm>
              <a:off x="4076700" y="3707901"/>
              <a:ext cx="2766374" cy="2505173"/>
            </a:xfrm>
            <a:prstGeom prst="flowChartConnector">
              <a:avLst/>
            </a:prstGeom>
            <a:solidFill>
              <a:srgbClr val="00B0F0">
                <a:alpha val="50196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35A10C7-A0D7-A0FB-69EE-435AA2ED0D11}"/>
                </a:ext>
              </a:extLst>
            </p:cNvPr>
            <p:cNvSpPr txBox="1"/>
            <p:nvPr/>
          </p:nvSpPr>
          <p:spPr>
            <a:xfrm>
              <a:off x="2149735" y="4532973"/>
              <a:ext cx="1999661" cy="610386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182880" tIns="182880" rIns="182880" bIns="18288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r>
                <a:rPr lang="en-US" sz="2400"/>
                <a:t>Infrastructure</a:t>
              </a:r>
              <a:endParaRPr lang="en-GB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AB8DF4B-A1E6-87AC-D157-B14A26EB844A}"/>
                </a:ext>
              </a:extLst>
            </p:cNvPr>
            <p:cNvSpPr txBox="1"/>
            <p:nvPr/>
          </p:nvSpPr>
          <p:spPr>
            <a:xfrm>
              <a:off x="4581445" y="4336489"/>
              <a:ext cx="2605826" cy="1452880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182880" tIns="182880" rIns="182880" bIns="18288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r>
                <a:rPr lang="en-US" sz="2400"/>
                <a:t>VMs, </a:t>
              </a:r>
              <a:br>
                <a:rPr lang="en-US" sz="2400"/>
              </a:br>
              <a:r>
                <a:rPr lang="en-US" sz="2400"/>
                <a:t>Containers,</a:t>
              </a:r>
              <a:br>
                <a:rPr lang="en-US" sz="2400"/>
              </a:br>
              <a:r>
                <a:rPr lang="en-US" sz="2400"/>
                <a:t>Serverless</a:t>
              </a:r>
              <a:endParaRPr lang="en-GB" sz="240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1FEE675-D2ED-06B5-81C5-49F7E54BA71A}"/>
              </a:ext>
            </a:extLst>
          </p:cNvPr>
          <p:cNvGrpSpPr/>
          <p:nvPr/>
        </p:nvGrpSpPr>
        <p:grpSpPr>
          <a:xfrm>
            <a:off x="257367" y="311022"/>
            <a:ext cx="4252367" cy="2505173"/>
            <a:chOff x="-581020" y="1862971"/>
            <a:chExt cx="4252367" cy="2505173"/>
          </a:xfrm>
        </p:grpSpPr>
        <p:sp>
          <p:nvSpPr>
            <p:cNvPr id="15" name="Flowchart: Connector 14">
              <a:extLst>
                <a:ext uri="{FF2B5EF4-FFF2-40B4-BE49-F238E27FC236}">
                  <a16:creationId xmlns:a16="http://schemas.microsoft.com/office/drawing/2014/main" id="{4B295087-45FF-B5EC-8C39-7F89A7B21CDA}"/>
                </a:ext>
              </a:extLst>
            </p:cNvPr>
            <p:cNvSpPr/>
            <p:nvPr/>
          </p:nvSpPr>
          <p:spPr bwMode="ltGray">
            <a:xfrm>
              <a:off x="904973" y="1862971"/>
              <a:ext cx="2766374" cy="2505173"/>
            </a:xfrm>
            <a:prstGeom prst="flowChartConnector">
              <a:avLst/>
            </a:prstGeom>
            <a:solidFill>
              <a:srgbClr val="92D050">
                <a:alpha val="50196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9A5BF24-64AB-5E2F-77B9-4AD3C6D3731D}"/>
                </a:ext>
              </a:extLst>
            </p:cNvPr>
            <p:cNvSpPr txBox="1"/>
            <p:nvPr/>
          </p:nvSpPr>
          <p:spPr>
            <a:xfrm>
              <a:off x="-581020" y="2707729"/>
              <a:ext cx="1999661" cy="610386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182880" tIns="182880" rIns="182880" bIns="18288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r>
                <a:rPr lang="en-US" sz="2400"/>
                <a:t>Software</a:t>
              </a:r>
              <a:endParaRPr lang="en-GB" sz="240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E3D3BEB-B360-7D8F-D7AA-CDB7D6DB48E7}"/>
                </a:ext>
              </a:extLst>
            </p:cNvPr>
            <p:cNvSpPr txBox="1"/>
            <p:nvPr/>
          </p:nvSpPr>
          <p:spPr>
            <a:xfrm>
              <a:off x="1282668" y="2616371"/>
              <a:ext cx="1607016" cy="862334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182880" tIns="182880" rIns="182880" bIns="182880" rtlCol="0">
              <a:noAutofit/>
            </a:bodyPr>
            <a:lstStyle/>
            <a:p>
              <a:pPr algn="r">
                <a:lnSpc>
                  <a:spcPct val="90000"/>
                </a:lnSpc>
                <a:spcBef>
                  <a:spcPts val="400"/>
                </a:spcBef>
              </a:pPr>
              <a:r>
                <a:rPr lang="en-US" sz="2400"/>
                <a:t>HPC, AI, Analytics</a:t>
              </a:r>
              <a:endParaRPr lang="en-GB" sz="2400"/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720806-2A64-E00F-C058-D0202AB70A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51649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Tm="18913">
        <p159:morph option="byObject"/>
      </p:transition>
    </mc:Choice>
    <mc:Fallback xmlns="">
      <p:transition spd="slow" advTm="18913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2CFD6C-7452-EE14-8505-3D8757250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696" y="285853"/>
            <a:ext cx="11421304" cy="427036"/>
          </a:xfrm>
        </p:spPr>
        <p:txBody>
          <a:bodyPr/>
          <a:lstStyle/>
          <a:p>
            <a:r>
              <a:rPr lang="en-US" sz="4000"/>
              <a:t>Future directions</a:t>
            </a:r>
            <a:endParaRPr lang="en-GB" sz="4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02F9E4-40E3-C359-9C19-FC6BD630CE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lnSpcReduction="10000"/>
          </a:bodyPr>
          <a:lstStyle/>
          <a:p>
            <a:r>
              <a:rPr lang="en-US" sz="4800"/>
              <a:t>Design-space exploration</a:t>
            </a:r>
          </a:p>
          <a:p>
            <a:r>
              <a:rPr lang="en-US" sz="4800"/>
              <a:t>Workflow benchmarking</a:t>
            </a:r>
          </a:p>
          <a:p>
            <a:r>
              <a:rPr lang="en-US" sz="4800"/>
              <a:t>Performance prediction</a:t>
            </a:r>
          </a:p>
          <a:p>
            <a:r>
              <a:rPr lang="en-US" sz="4800"/>
              <a:t>Performance regression detection</a:t>
            </a:r>
          </a:p>
          <a:p>
            <a:r>
              <a:rPr lang="en-US" sz="4800"/>
              <a:t>Performance optimization and debugging suggestions</a:t>
            </a:r>
          </a:p>
          <a:p>
            <a:r>
              <a:rPr lang="en-US" sz="4800"/>
              <a:t>AI-assisted visualizations</a:t>
            </a:r>
          </a:p>
          <a:p>
            <a:r>
              <a:rPr lang="en-US" sz="4800"/>
              <a:t>Automating the iterative performance lifecycle</a:t>
            </a:r>
            <a:endParaRPr lang="en-GB" sz="48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B55E3-FDA1-E9C6-187F-9BA19FF1992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56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2CFD6C-7452-EE14-8505-3D8757250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696" y="304325"/>
            <a:ext cx="11421304" cy="427036"/>
          </a:xfrm>
        </p:spPr>
        <p:txBody>
          <a:bodyPr/>
          <a:lstStyle/>
          <a:p>
            <a:r>
              <a:rPr lang="en-US" sz="4000"/>
              <a:t>Additional information</a:t>
            </a:r>
            <a:endParaRPr lang="en-GB" sz="4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02F9E4-40E3-C359-9C19-FC6BD630CE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4800" dirty="0"/>
              <a:t>Open-source repository: </a:t>
            </a:r>
            <a:r>
              <a:rPr lang="en-US" sz="4800" dirty="0">
                <a:hlinkClick r:id="rId2"/>
              </a:rPr>
              <a:t>https://github.com/HewlettPackard/SHARP</a:t>
            </a:r>
            <a:endParaRPr lang="en-US" sz="4800" dirty="0"/>
          </a:p>
          <a:p>
            <a:pPr marL="0" indent="0">
              <a:buNone/>
            </a:pPr>
            <a:endParaRPr lang="en-US" sz="4800" dirty="0"/>
          </a:p>
          <a:p>
            <a:pPr marL="0" indent="0">
              <a:buNone/>
            </a:pPr>
            <a:r>
              <a:rPr lang="en-US" sz="4800" dirty="0"/>
              <a:t>Offline questions: </a:t>
            </a:r>
            <a:r>
              <a:rPr lang="en-US" sz="4800" dirty="0">
                <a:hlinkClick r:id="rId3"/>
              </a:rPr>
              <a:t>eitan.frachtenberg@hpe.com</a:t>
            </a:r>
            <a:endParaRPr lang="en-US" sz="4800" dirty="0"/>
          </a:p>
          <a:p>
            <a:pPr marL="0" indent="0">
              <a:buNone/>
            </a:pPr>
            <a:endParaRPr lang="en-US" sz="4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815669-C95E-E178-1C1D-2D64C1D6C22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155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83F80-7AD9-9DE0-3B51-62EB86173D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696" y="304325"/>
            <a:ext cx="11421304" cy="427036"/>
          </a:xfrm>
        </p:spPr>
        <p:txBody>
          <a:bodyPr/>
          <a:lstStyle/>
          <a:p>
            <a:r>
              <a:rPr lang="en-US" sz="4000" err="1"/>
              <a:t>Autostop</a:t>
            </a:r>
            <a:r>
              <a:rPr lang="en-US" sz="4000"/>
              <a:t> comparison</a:t>
            </a:r>
            <a:endParaRPr lang="en-GB" sz="4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1DC89E-BE5F-112F-EFB6-9CC5601698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 descr="A graph of different colored bars&#10;&#10;Description automatically generated with medium confidence">
            <a:extLst>
              <a:ext uri="{FF2B5EF4-FFF2-40B4-BE49-F238E27FC236}">
                <a16:creationId xmlns:a16="http://schemas.microsoft.com/office/drawing/2014/main" id="{17661A10-A0E1-07F8-BC6A-93AB2D44C1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964" y="748747"/>
            <a:ext cx="8522138" cy="605821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FDB132-4E95-87C4-79B1-0E683B37833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3132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7C47CD-F366-9E15-AB09-4FC5DE6CD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696" y="313561"/>
            <a:ext cx="11802304" cy="427036"/>
          </a:xfrm>
        </p:spPr>
        <p:txBody>
          <a:bodyPr/>
          <a:lstStyle/>
          <a:p>
            <a:r>
              <a:rPr lang="en-GB" sz="4000"/>
              <a:t>Parameter-space exploration &amp; optimiz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C2856F-D690-0F0B-8511-25856E6B4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4800"/>
              <a:t>Problem: How to optimize the parameters of a benchmark to balance run time with stability</a:t>
            </a:r>
          </a:p>
          <a:p>
            <a:r>
              <a:rPr lang="en-US" sz="4800"/>
              <a:t>Feature inspired by and developed with actual machine-validation benchmarking in HPC</a:t>
            </a:r>
          </a:p>
          <a:p>
            <a:r>
              <a:rPr lang="en-US" sz="4800"/>
              <a:t>Main idea: Explore the parameter space of the application; Evaluate its stability and run time</a:t>
            </a:r>
          </a:p>
          <a:p>
            <a:r>
              <a:rPr lang="en-US" sz="4800"/>
              <a:t>Includes a library of heuristics for exploring the space, weighing run time with stability, and assessing stability, including using the adaptive stopping rule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B7CE32-4A65-322E-150E-03D1A3B31B0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1764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0DBBFC45-0D16-7B22-C811-70043D739BE9}"/>
              </a:ext>
            </a:extLst>
          </p:cNvPr>
          <p:cNvGrpSpPr/>
          <p:nvPr/>
        </p:nvGrpSpPr>
        <p:grpSpPr>
          <a:xfrm>
            <a:off x="5210935" y="2654364"/>
            <a:ext cx="4266555" cy="2646099"/>
            <a:chOff x="7234653" y="1862971"/>
            <a:chExt cx="4266555" cy="2646099"/>
          </a:xfrm>
        </p:grpSpPr>
        <p:sp>
          <p:nvSpPr>
            <p:cNvPr id="5" name="Flowchart: Connector 4">
              <a:extLst>
                <a:ext uri="{FF2B5EF4-FFF2-40B4-BE49-F238E27FC236}">
                  <a16:creationId xmlns:a16="http://schemas.microsoft.com/office/drawing/2014/main" id="{0FDDB8FD-4291-B718-A1B9-857A2896A9A2}"/>
                </a:ext>
              </a:extLst>
            </p:cNvPr>
            <p:cNvSpPr/>
            <p:nvPr/>
          </p:nvSpPr>
          <p:spPr bwMode="ltGray">
            <a:xfrm>
              <a:off x="7234653" y="1862971"/>
              <a:ext cx="2766374" cy="2505173"/>
            </a:xfrm>
            <a:prstGeom prst="flowChartConnector">
              <a:avLst/>
            </a:prstGeom>
            <a:solidFill>
              <a:srgbClr val="F5562B">
                <a:alpha val="50196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158F7A5-BD95-F91A-7C33-D69FEFB7DC77}"/>
                </a:ext>
              </a:extLst>
            </p:cNvPr>
            <p:cNvSpPr txBox="1"/>
            <p:nvPr/>
          </p:nvSpPr>
          <p:spPr>
            <a:xfrm>
              <a:off x="9501547" y="3898684"/>
              <a:ext cx="1999661" cy="610386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182880" tIns="182880" rIns="182880" bIns="18288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r>
                <a:rPr lang="en-US" sz="2400"/>
                <a:t>Hardware</a:t>
              </a:r>
              <a:endParaRPr lang="en-GB" sz="240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E2E041A-8F33-6150-3457-DC20123020AE}"/>
                </a:ext>
              </a:extLst>
            </p:cNvPr>
            <p:cNvSpPr txBox="1"/>
            <p:nvPr/>
          </p:nvSpPr>
          <p:spPr>
            <a:xfrm>
              <a:off x="7895259" y="2792939"/>
              <a:ext cx="1945513" cy="1132968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182880" tIns="182880" rIns="182880" bIns="182880" rtlCol="0">
              <a:noAutofit/>
            </a:bodyPr>
            <a:lstStyle/>
            <a:p>
              <a:pPr algn="r">
                <a:lnSpc>
                  <a:spcPct val="90000"/>
                </a:lnSpc>
                <a:spcBef>
                  <a:spcPts val="400"/>
                </a:spcBef>
              </a:pPr>
              <a:r>
                <a:rPr lang="en-US" sz="2400"/>
                <a:t>GPUs, </a:t>
              </a:r>
              <a:br>
                <a:rPr lang="en-US" sz="2400"/>
              </a:br>
              <a:r>
                <a:rPr lang="en-US" sz="2400"/>
                <a:t>Smart NICs, </a:t>
              </a:r>
              <a:br>
                <a:rPr lang="en-US" sz="2400"/>
              </a:br>
              <a:r>
                <a:rPr lang="en-US" sz="2400"/>
                <a:t>FPGAs</a:t>
              </a:r>
              <a:endParaRPr lang="en-GB" sz="240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6228030-2BE7-F5B6-1EE8-7F589F2F8E14}"/>
              </a:ext>
            </a:extLst>
          </p:cNvPr>
          <p:cNvGrpSpPr/>
          <p:nvPr/>
        </p:nvGrpSpPr>
        <p:grpSpPr>
          <a:xfrm>
            <a:off x="1809621" y="2187607"/>
            <a:ext cx="4693339" cy="2505173"/>
            <a:chOff x="2149735" y="3707901"/>
            <a:chExt cx="4693339" cy="2505173"/>
          </a:xfrm>
        </p:grpSpPr>
        <p:sp>
          <p:nvSpPr>
            <p:cNvPr id="8" name="Flowchart: Connector 7">
              <a:extLst>
                <a:ext uri="{FF2B5EF4-FFF2-40B4-BE49-F238E27FC236}">
                  <a16:creationId xmlns:a16="http://schemas.microsoft.com/office/drawing/2014/main" id="{5894A411-EFCA-3F07-67D9-BFE2917DD05C}"/>
                </a:ext>
              </a:extLst>
            </p:cNvPr>
            <p:cNvSpPr/>
            <p:nvPr/>
          </p:nvSpPr>
          <p:spPr bwMode="ltGray">
            <a:xfrm>
              <a:off x="4076700" y="3707901"/>
              <a:ext cx="2766374" cy="2505173"/>
            </a:xfrm>
            <a:prstGeom prst="flowChartConnector">
              <a:avLst/>
            </a:prstGeom>
            <a:solidFill>
              <a:srgbClr val="00B0F0">
                <a:alpha val="50196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35A10C7-A0D7-A0FB-69EE-435AA2ED0D11}"/>
                </a:ext>
              </a:extLst>
            </p:cNvPr>
            <p:cNvSpPr txBox="1"/>
            <p:nvPr/>
          </p:nvSpPr>
          <p:spPr>
            <a:xfrm>
              <a:off x="2149735" y="4532973"/>
              <a:ext cx="1999661" cy="610386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182880" tIns="182880" rIns="182880" bIns="18288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r>
                <a:rPr lang="en-US" sz="2400"/>
                <a:t>Infrastructure</a:t>
              </a:r>
              <a:endParaRPr lang="en-GB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AB8DF4B-A1E6-87AC-D157-B14A26EB844A}"/>
                </a:ext>
              </a:extLst>
            </p:cNvPr>
            <p:cNvSpPr txBox="1"/>
            <p:nvPr/>
          </p:nvSpPr>
          <p:spPr>
            <a:xfrm>
              <a:off x="4068185" y="4390415"/>
              <a:ext cx="2605826" cy="1452880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182880" tIns="182880" rIns="182880" bIns="18288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r>
                <a:rPr lang="en-US" sz="2400"/>
                <a:t>VMs, </a:t>
              </a:r>
              <a:br>
                <a:rPr lang="en-US" sz="2400"/>
              </a:br>
              <a:r>
                <a:rPr lang="en-US" sz="2400"/>
                <a:t>Containers,</a:t>
              </a:r>
              <a:br>
                <a:rPr lang="en-US" sz="2400"/>
              </a:br>
              <a:r>
                <a:rPr lang="en-US" sz="2400"/>
                <a:t>Serverless</a:t>
              </a:r>
              <a:endParaRPr lang="en-GB" sz="240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1FEE675-D2ED-06B5-81C5-49F7E54BA71A}"/>
              </a:ext>
            </a:extLst>
          </p:cNvPr>
          <p:cNvGrpSpPr/>
          <p:nvPr/>
        </p:nvGrpSpPr>
        <p:grpSpPr>
          <a:xfrm>
            <a:off x="4813370" y="708674"/>
            <a:ext cx="2766374" cy="3106772"/>
            <a:chOff x="904973" y="1261372"/>
            <a:chExt cx="2766374" cy="3106772"/>
          </a:xfrm>
        </p:grpSpPr>
        <p:sp>
          <p:nvSpPr>
            <p:cNvPr id="15" name="Flowchart: Connector 14">
              <a:extLst>
                <a:ext uri="{FF2B5EF4-FFF2-40B4-BE49-F238E27FC236}">
                  <a16:creationId xmlns:a16="http://schemas.microsoft.com/office/drawing/2014/main" id="{4B295087-45FF-B5EC-8C39-7F89A7B21CDA}"/>
                </a:ext>
              </a:extLst>
            </p:cNvPr>
            <p:cNvSpPr/>
            <p:nvPr/>
          </p:nvSpPr>
          <p:spPr bwMode="ltGray">
            <a:xfrm>
              <a:off x="904973" y="1862971"/>
              <a:ext cx="2766374" cy="2505173"/>
            </a:xfrm>
            <a:prstGeom prst="flowChartConnector">
              <a:avLst/>
            </a:prstGeom>
            <a:solidFill>
              <a:srgbClr val="92D050">
                <a:alpha val="50196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9A5BF24-64AB-5E2F-77B9-4AD3C6D3731D}"/>
                </a:ext>
              </a:extLst>
            </p:cNvPr>
            <p:cNvSpPr txBox="1"/>
            <p:nvPr/>
          </p:nvSpPr>
          <p:spPr>
            <a:xfrm>
              <a:off x="1635847" y="1261372"/>
              <a:ext cx="1999661" cy="610386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182880" tIns="182880" rIns="182880" bIns="18288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r>
                <a:rPr lang="en-US" sz="2400"/>
                <a:t>Software</a:t>
              </a:r>
              <a:endParaRPr lang="en-GB" sz="240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E3D3BEB-B360-7D8F-D7AA-CDB7D6DB48E7}"/>
                </a:ext>
              </a:extLst>
            </p:cNvPr>
            <p:cNvSpPr txBox="1"/>
            <p:nvPr/>
          </p:nvSpPr>
          <p:spPr>
            <a:xfrm>
              <a:off x="1932309" y="2203802"/>
              <a:ext cx="1607016" cy="862334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182880" tIns="182880" rIns="182880" bIns="182880" rtlCol="0">
              <a:noAutofit/>
            </a:bodyPr>
            <a:lstStyle/>
            <a:p>
              <a:pPr algn="r">
                <a:lnSpc>
                  <a:spcPct val="90000"/>
                </a:lnSpc>
                <a:spcBef>
                  <a:spcPts val="400"/>
                </a:spcBef>
              </a:pPr>
              <a:r>
                <a:rPr lang="en-US" sz="2400"/>
                <a:t>HPC, AI, Analytics</a:t>
              </a:r>
              <a:endParaRPr lang="en-GB" sz="2400"/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33A257B-26B5-24FE-6210-0E715FD2D1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06187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0FDDB8FD-4291-B718-A1B9-857A2896A9A2}"/>
              </a:ext>
            </a:extLst>
          </p:cNvPr>
          <p:cNvSpPr/>
          <p:nvPr/>
        </p:nvSpPr>
        <p:spPr bwMode="ltGray">
          <a:xfrm>
            <a:off x="5210935" y="2654364"/>
            <a:ext cx="2766374" cy="2505173"/>
          </a:xfrm>
          <a:prstGeom prst="flowChartConnector">
            <a:avLst/>
          </a:prstGeom>
          <a:solidFill>
            <a:srgbClr val="F5562B">
              <a:alpha val="50196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158F7A5-BD95-F91A-7C33-D69FEFB7DC77}"/>
              </a:ext>
            </a:extLst>
          </p:cNvPr>
          <p:cNvSpPr txBox="1"/>
          <p:nvPr/>
        </p:nvSpPr>
        <p:spPr>
          <a:xfrm>
            <a:off x="7477829" y="4690077"/>
            <a:ext cx="1999661" cy="610386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2400"/>
              <a:t>Hardware</a:t>
            </a:r>
            <a:endParaRPr lang="en-GB" sz="24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2E041A-8F33-6150-3457-DC20123020AE}"/>
              </a:ext>
            </a:extLst>
          </p:cNvPr>
          <p:cNvSpPr txBox="1"/>
          <p:nvPr/>
        </p:nvSpPr>
        <p:spPr>
          <a:xfrm>
            <a:off x="5871541" y="3584332"/>
            <a:ext cx="1945513" cy="1132968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noAutofit/>
          </a:bodyPr>
          <a:lstStyle/>
          <a:p>
            <a:pPr algn="r">
              <a:lnSpc>
                <a:spcPct val="90000"/>
              </a:lnSpc>
              <a:spcBef>
                <a:spcPts val="400"/>
              </a:spcBef>
            </a:pPr>
            <a:r>
              <a:rPr lang="en-US" sz="2400"/>
              <a:t>GPUs, </a:t>
            </a:r>
            <a:br>
              <a:rPr lang="en-US" sz="2400"/>
            </a:br>
            <a:r>
              <a:rPr lang="en-US" sz="2400"/>
              <a:t>Smart NICs, </a:t>
            </a:r>
            <a:br>
              <a:rPr lang="en-US" sz="2400"/>
            </a:br>
            <a:r>
              <a:rPr lang="en-US" sz="2400"/>
              <a:t>FPGAs</a:t>
            </a:r>
            <a:endParaRPr lang="en-GB" sz="2400"/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5894A411-EFCA-3F07-67D9-BFE2917DD05C}"/>
              </a:ext>
            </a:extLst>
          </p:cNvPr>
          <p:cNvSpPr/>
          <p:nvPr/>
        </p:nvSpPr>
        <p:spPr bwMode="ltGray">
          <a:xfrm>
            <a:off x="3736586" y="2187607"/>
            <a:ext cx="2766374" cy="2505173"/>
          </a:xfrm>
          <a:prstGeom prst="flowChartConnector">
            <a:avLst/>
          </a:prstGeom>
          <a:solidFill>
            <a:srgbClr val="00B0F0">
              <a:alpha val="50196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35A10C7-A0D7-A0FB-69EE-435AA2ED0D11}"/>
              </a:ext>
            </a:extLst>
          </p:cNvPr>
          <p:cNvSpPr txBox="1"/>
          <p:nvPr/>
        </p:nvSpPr>
        <p:spPr>
          <a:xfrm>
            <a:off x="1809621" y="3012679"/>
            <a:ext cx="1999661" cy="610386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2400"/>
              <a:t>Infrastructure</a:t>
            </a:r>
            <a:endParaRPr lang="en-GB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AB8DF4B-A1E6-87AC-D157-B14A26EB844A}"/>
              </a:ext>
            </a:extLst>
          </p:cNvPr>
          <p:cNvSpPr txBox="1"/>
          <p:nvPr/>
        </p:nvSpPr>
        <p:spPr>
          <a:xfrm>
            <a:off x="3728071" y="2870121"/>
            <a:ext cx="2605826" cy="145288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2400"/>
              <a:t>VMs, </a:t>
            </a:r>
            <a:br>
              <a:rPr lang="en-US" sz="2400"/>
            </a:br>
            <a:r>
              <a:rPr lang="en-US" sz="2400"/>
              <a:t>Containers,</a:t>
            </a:r>
            <a:br>
              <a:rPr lang="en-US" sz="2400"/>
            </a:br>
            <a:r>
              <a:rPr lang="en-US" sz="2400"/>
              <a:t>Serverless</a:t>
            </a:r>
            <a:endParaRPr lang="en-GB" sz="2400"/>
          </a:p>
        </p:txBody>
      </p:sp>
      <p:sp>
        <p:nvSpPr>
          <p:cNvPr id="15" name="Flowchart: Connector 14">
            <a:extLst>
              <a:ext uri="{FF2B5EF4-FFF2-40B4-BE49-F238E27FC236}">
                <a16:creationId xmlns:a16="http://schemas.microsoft.com/office/drawing/2014/main" id="{4B295087-45FF-B5EC-8C39-7F89A7B21CDA}"/>
              </a:ext>
            </a:extLst>
          </p:cNvPr>
          <p:cNvSpPr/>
          <p:nvPr/>
        </p:nvSpPr>
        <p:spPr bwMode="ltGray">
          <a:xfrm>
            <a:off x="4813370" y="1310273"/>
            <a:ext cx="2766374" cy="2505173"/>
          </a:xfrm>
          <a:prstGeom prst="flowChartConnector">
            <a:avLst/>
          </a:prstGeom>
          <a:solidFill>
            <a:srgbClr val="92D050">
              <a:alpha val="50196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9A5BF24-64AB-5E2F-77B9-4AD3C6D3731D}"/>
              </a:ext>
            </a:extLst>
          </p:cNvPr>
          <p:cNvSpPr txBox="1"/>
          <p:nvPr/>
        </p:nvSpPr>
        <p:spPr>
          <a:xfrm>
            <a:off x="5544244" y="708674"/>
            <a:ext cx="1999661" cy="610386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2400"/>
              <a:t>Software</a:t>
            </a:r>
            <a:endParaRPr lang="en-GB" sz="24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E3D3BEB-B360-7D8F-D7AA-CDB7D6DB48E7}"/>
              </a:ext>
            </a:extLst>
          </p:cNvPr>
          <p:cNvSpPr txBox="1"/>
          <p:nvPr/>
        </p:nvSpPr>
        <p:spPr>
          <a:xfrm>
            <a:off x="5840706" y="1651104"/>
            <a:ext cx="1607016" cy="862334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noAutofit/>
          </a:bodyPr>
          <a:lstStyle/>
          <a:p>
            <a:pPr algn="r">
              <a:lnSpc>
                <a:spcPct val="90000"/>
              </a:lnSpc>
              <a:spcBef>
                <a:spcPts val="400"/>
              </a:spcBef>
            </a:pPr>
            <a:r>
              <a:rPr lang="en-US" sz="2400"/>
              <a:t>HPC, AI, Analytics</a:t>
            </a:r>
            <a:endParaRPr lang="en-GB" sz="240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E0DEC52-2046-AA62-A506-F1BEF495F178}"/>
              </a:ext>
            </a:extLst>
          </p:cNvPr>
          <p:cNvSpPr/>
          <p:nvPr/>
        </p:nvSpPr>
        <p:spPr bwMode="ltGray">
          <a:xfrm>
            <a:off x="5285538" y="2698993"/>
            <a:ext cx="1217423" cy="1116454"/>
          </a:xfrm>
          <a:custGeom>
            <a:avLst/>
            <a:gdLst>
              <a:gd name="connsiteX0" fmla="*/ 947450 w 1217423"/>
              <a:gd name="connsiteY0" fmla="*/ 0 h 1116454"/>
              <a:gd name="connsiteX1" fmla="*/ 981197 w 1217423"/>
              <a:gd name="connsiteY1" fmla="*/ 40868 h 1116454"/>
              <a:gd name="connsiteX2" fmla="*/ 1217423 w 1217423"/>
              <a:gd name="connsiteY2" fmla="*/ 741201 h 1116454"/>
              <a:gd name="connsiteX3" fmla="*/ 1189322 w 1217423"/>
              <a:gd name="connsiteY3" fmla="*/ 993641 h 1116454"/>
              <a:gd name="connsiteX4" fmla="*/ 1160529 w 1217423"/>
              <a:gd name="connsiteY4" fmla="*/ 1095049 h 1116454"/>
              <a:gd name="connsiteX5" fmla="*/ 1052443 w 1217423"/>
              <a:gd name="connsiteY5" fmla="*/ 1109987 h 1116454"/>
              <a:gd name="connsiteX6" fmla="*/ 911020 w 1217423"/>
              <a:gd name="connsiteY6" fmla="*/ 1116454 h 1116454"/>
              <a:gd name="connsiteX7" fmla="*/ 31185 w 1217423"/>
              <a:gd name="connsiteY7" fmla="*/ 830424 h 1116454"/>
              <a:gd name="connsiteX8" fmla="*/ 0 w 1217423"/>
              <a:gd name="connsiteY8" fmla="*/ 804757 h 1116454"/>
              <a:gd name="connsiteX9" fmla="*/ 34096 w 1217423"/>
              <a:gd name="connsiteY9" fmla="*/ 720395 h 1116454"/>
              <a:gd name="connsiteX10" fmla="*/ 897268 w 1217423"/>
              <a:gd name="connsiteY10" fmla="*/ 11685 h 1116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7423" h="1116454">
                <a:moveTo>
                  <a:pt x="947450" y="0"/>
                </a:moveTo>
                <a:lnTo>
                  <a:pt x="981197" y="40868"/>
                </a:lnTo>
                <a:cubicBezTo>
                  <a:pt x="1130338" y="240782"/>
                  <a:pt x="1217423" y="481782"/>
                  <a:pt x="1217423" y="741201"/>
                </a:cubicBezTo>
                <a:cubicBezTo>
                  <a:pt x="1217423" y="827674"/>
                  <a:pt x="1207747" y="912101"/>
                  <a:pt x="1189322" y="993641"/>
                </a:cubicBezTo>
                <a:lnTo>
                  <a:pt x="1160529" y="1095049"/>
                </a:lnTo>
                <a:lnTo>
                  <a:pt x="1052443" y="1109987"/>
                </a:lnTo>
                <a:cubicBezTo>
                  <a:pt x="1005944" y="1114264"/>
                  <a:pt x="958765" y="1116454"/>
                  <a:pt x="911020" y="1116454"/>
                </a:cubicBezTo>
                <a:cubicBezTo>
                  <a:pt x="576808" y="1116454"/>
                  <a:pt x="270281" y="1009113"/>
                  <a:pt x="31185" y="830424"/>
                </a:cubicBezTo>
                <a:lnTo>
                  <a:pt x="0" y="804757"/>
                </a:lnTo>
                <a:lnTo>
                  <a:pt x="34096" y="720395"/>
                </a:lnTo>
                <a:cubicBezTo>
                  <a:pt x="191580" y="383215"/>
                  <a:pt x="507463" y="121479"/>
                  <a:pt x="897268" y="11685"/>
                </a:cubicBezTo>
                <a:close/>
              </a:path>
            </a:pathLst>
          </a:custGeom>
          <a:solidFill>
            <a:schemeClr val="tx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79676BD-4E5A-5196-57C6-8B988BE42D7C}"/>
              </a:ext>
            </a:extLst>
          </p:cNvPr>
          <p:cNvSpPr txBox="1"/>
          <p:nvPr/>
        </p:nvSpPr>
        <p:spPr>
          <a:xfrm>
            <a:off x="5565112" y="3139710"/>
            <a:ext cx="567469" cy="319764"/>
          </a:xfrm>
          <a:prstGeom prst="rect">
            <a:avLst/>
          </a:prstGeom>
          <a:ln/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27432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3600" b="1">
                <a:solidFill>
                  <a:srgbClr val="FFFF00"/>
                </a:solidFill>
                <a:highlight>
                  <a:srgbClr val="000000"/>
                </a:highlight>
              </a:rPr>
              <a:t>HSC</a:t>
            </a:r>
            <a:endParaRPr lang="en-US" sz="2800" b="1">
              <a:solidFill>
                <a:srgbClr val="FFFF00"/>
              </a:solidFill>
              <a:highlight>
                <a:srgbClr val="000000"/>
              </a:highlight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E4831D8-041A-E321-B401-CCEF3A24B6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640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7C47CD-F366-9E15-AB09-4FC5DE6CD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348" y="239667"/>
            <a:ext cx="11421304" cy="427036"/>
          </a:xfrm>
        </p:spPr>
        <p:txBody>
          <a:bodyPr/>
          <a:lstStyle/>
          <a:p>
            <a:r>
              <a:rPr lang="en-US" sz="4000"/>
              <a:t>The problem</a:t>
            </a:r>
            <a:endParaRPr lang="en-GB" sz="4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C2856F-D690-0F0B-8511-25856E6B4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9696" y="2450771"/>
            <a:ext cx="11274742" cy="159290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6000"/>
              <a:t>How do you measure performance reliably and </a:t>
            </a:r>
            <a:r>
              <a:rPr lang="en-US" sz="6000">
                <a:solidFill>
                  <a:srgbClr val="00B08A"/>
                </a:solidFill>
              </a:rPr>
              <a:t>reproducibly</a:t>
            </a:r>
            <a:r>
              <a:rPr lang="en-US" sz="6000"/>
              <a:t> when </a:t>
            </a:r>
            <a:r>
              <a:rPr lang="en-US" sz="6000">
                <a:solidFill>
                  <a:schemeClr val="accent1">
                    <a:lumMod val="40000"/>
                    <a:lumOff val="60000"/>
                  </a:schemeClr>
                </a:solidFill>
              </a:rPr>
              <a:t>serverless functions</a:t>
            </a:r>
            <a:r>
              <a:rPr lang="en-US" sz="6000"/>
              <a:t> are so variable?</a:t>
            </a:r>
            <a:endParaRPr lang="en-GB" sz="6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678828-E98F-47CD-F687-C8D437EA1A0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1502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7C47CD-F366-9E15-AB09-4FC5DE6CD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696" y="304325"/>
            <a:ext cx="11421304" cy="427036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z="4000"/>
              <a:t>The generalized problem</a:t>
            </a:r>
            <a:endParaRPr lang="en-GB" sz="4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C2856F-D690-0F0B-8511-25856E6B4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9696" y="2450771"/>
            <a:ext cx="11274742" cy="159290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6000"/>
              <a:t>How do you measure performance reliably and </a:t>
            </a:r>
            <a:r>
              <a:rPr lang="en-US" sz="6000">
                <a:solidFill>
                  <a:srgbClr val="00B08A"/>
                </a:solidFill>
              </a:rPr>
              <a:t>reproducibly</a:t>
            </a:r>
            <a:r>
              <a:rPr lang="en-US" sz="6000"/>
              <a:t> when </a:t>
            </a:r>
            <a:r>
              <a:rPr lang="en-US" sz="6000" strike="sngStrike"/>
              <a:t>serverless functions</a:t>
            </a:r>
            <a:r>
              <a:rPr lang="en-US" sz="6000"/>
              <a:t> are so variable?</a:t>
            </a:r>
            <a:br>
              <a:rPr lang="en-US" sz="6000"/>
            </a:br>
            <a:r>
              <a:rPr lang="en-US" sz="6000">
                <a:solidFill>
                  <a:schemeClr val="accent1">
                    <a:lumMod val="40000"/>
                    <a:lumOff val="60000"/>
                  </a:schemeClr>
                </a:solidFill>
              </a:rPr>
              <a:t>many computations</a:t>
            </a:r>
            <a:endParaRPr lang="en-GB" sz="600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EC04DE-0C8A-016C-1C0E-35B7A9F8B6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9283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461C43-B33C-FFBB-BB68-F05081E039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5EB460-CABC-93E8-4346-9D00D15A38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242CA6E-21A7-4425-BD3B-5023C1CFF3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00" y="-10160"/>
            <a:ext cx="114554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6C0A2D-7A11-82AF-E251-307B11AE22C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0806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7C47CD-F366-9E15-AB09-4FC5DE6CD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696" y="285853"/>
            <a:ext cx="11421304" cy="427036"/>
          </a:xfrm>
        </p:spPr>
        <p:txBody>
          <a:bodyPr/>
          <a:lstStyle/>
          <a:p>
            <a:r>
              <a:rPr lang="en-US" sz="4000"/>
              <a:t>our solution</a:t>
            </a:r>
            <a:endParaRPr lang="en-GB" sz="4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C2856F-D690-0F0B-8511-25856E6B4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4800"/>
          </a:p>
          <a:p>
            <a:pPr marL="0" indent="0">
              <a:buNone/>
            </a:pPr>
            <a:endParaRPr lang="en-US" sz="4800"/>
          </a:p>
          <a:p>
            <a:pPr marL="0" indent="0">
              <a:buNone/>
            </a:pPr>
            <a:endParaRPr lang="en-US" sz="4800"/>
          </a:p>
          <a:p>
            <a:pPr marL="0" indent="0">
              <a:buNone/>
            </a:pPr>
            <a:endParaRPr lang="en-US" sz="4800"/>
          </a:p>
          <a:p>
            <a:pPr marL="0" indent="0">
              <a:buNone/>
            </a:pPr>
            <a:r>
              <a:rPr lang="en-US" sz="4800"/>
              <a:t>An open-source framework for reproducible benchmarking</a:t>
            </a:r>
            <a:endParaRPr lang="en-GB" sz="48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316A0A-246D-2BF8-62F0-CBD8A896D5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364" y="-4784654"/>
            <a:ext cx="10475875" cy="1387589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B01B98-CB8F-F331-9320-1954A26AF57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5944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BABE26-9BB7-A14D-5C72-18423279801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85ED672-14C8-4483-9652-64B1F1038EA7}" type="slidenum">
              <a:rPr lang="en-GB" smtClean="0"/>
              <a:t>9</a:t>
            </a:fld>
            <a:endParaRPr lang="en-GB"/>
          </a:p>
        </p:txBody>
      </p:sp>
      <p:pic>
        <p:nvPicPr>
          <p:cNvPr id="5" name="Picture 4" descr="A diagram of a diagram&#10;&#10;Description automatically generated with medium confidence">
            <a:extLst>
              <a:ext uri="{FF2B5EF4-FFF2-40B4-BE49-F238E27FC236}">
                <a16:creationId xmlns:a16="http://schemas.microsoft.com/office/drawing/2014/main" id="{E3B76D9B-0175-10CB-8915-2C5E7DA783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826" y="0"/>
            <a:ext cx="1175434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029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S9kjhgbzuH2KEIEs2Kf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B08A"/>
      </a:hlink>
      <a:folHlink>
        <a:srgbClr val="01B08A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solidFill>
            <a:schemeClr val="accent1"/>
          </a:solidFill>
          <a:miter lim="800000"/>
        </a:ln>
      </a:spPr>
      <a:bodyPr wrap="square" lIns="182880" tIns="182880" rIns="182880" bIns="182880" rtlCol="0">
        <a:noAutofit/>
      </a:bodyPr>
      <a:lstStyle>
        <a:defPPr>
          <a:lnSpc>
            <a:spcPct val="90000"/>
          </a:lnSpc>
          <a:spcBef>
            <a:spcPts val="400"/>
          </a:spcBef>
          <a:defRPr dirty="0"/>
        </a:defPPr>
      </a:lstStyle>
    </a:txDef>
  </a:objectDefaults>
  <a:extraClrSchemeLst/>
  <a:custClrLst>
    <a:custClr name="HPE Green">
      <a:srgbClr val="00B08A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6" id="{915D7471-45D9-49D9-B21C-ED279F5A70BE}" vid="{155F1C2B-79FB-417F-8EDF-2935430F0B97}"/>
    </a:ext>
  </a:extLst>
</a:theme>
</file>

<file path=ppt/theme/theme2.xml><?xml version="1.0" encoding="utf-8"?>
<a:theme xmlns:a="http://schemas.openxmlformats.org/drawingml/2006/main" name="2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182880" tIns="182880" rIns="182880" bIns="182880" rtlCol="0">
        <a:spAutoFit/>
      </a:bodyPr>
      <a:lstStyle>
        <a:defPPr algn="l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-standard-16x9-white-inspiration-1566963606857  -  Read-Only" id="{39E7BC13-A3DF-3648-A400-241DA1589281}" vid="{C827E361-885B-694E-B101-FDBEA78829BE}"/>
    </a:ext>
  </a:extLst>
</a:theme>
</file>

<file path=ppt/theme/theme3.xml><?xml version="1.0" encoding="utf-8"?>
<a:theme xmlns:a="http://schemas.openxmlformats.org/drawingml/2006/main" name="1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>
        <a:spAutoFit/>
      </a:bodyPr>
      <a:lstStyle>
        <a:defPPr marL="285750" indent="-285750" algn="l">
          <a:lnSpc>
            <a:spcPct val="90000"/>
          </a:lnSpc>
          <a:spcBef>
            <a:spcPts val="400"/>
          </a:spcBef>
          <a:buFont typeface="MetricHPE" panose="020B0503030202060203" pitchFamily="34" charset="0"/>
          <a:buChar char="•"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winter2019-hpe-standard-16x9-white-template-1582541636805 (1).potx" id="{C7A4A591-1703-4F0E-8F20-EF2AF257B482}" vid="{7D6F5A49-317B-4780-9C89-B00E4C82F04C}"/>
    </a:ext>
  </a:extLst>
</a:theme>
</file>

<file path=ppt/theme/theme4.xml><?xml version="1.0" encoding="utf-8"?>
<a:theme xmlns:a="http://schemas.openxmlformats.org/drawingml/2006/main" name="10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182880" tIns="182880" rIns="182880" bIns="182880" rtlCol="0">
        <a:spAutoFit/>
      </a:bodyPr>
      <a:lstStyle>
        <a:defPPr algn="l">
          <a:lnSpc>
            <a:spcPct val="90000"/>
          </a:lnSpc>
          <a:spcBef>
            <a:spcPts val="400"/>
          </a:spcBef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Standard 16x9 White Template.pptx" id="{413FE5A0-5971-492C-AADA-5C9E9F554605}" vid="{9B816485-25F1-4B6F-8965-48C8821912A4}"/>
    </a:ext>
  </a:extLst>
</a:theme>
</file>

<file path=ppt/theme/theme5.xml><?xml version="1.0" encoding="utf-8"?>
<a:theme xmlns:a="http://schemas.openxmlformats.org/drawingml/2006/main" name="3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B08A"/>
      </a:hlink>
      <a:folHlink>
        <a:srgbClr val="01B08A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solidFill>
            <a:schemeClr val="accent1"/>
          </a:solidFill>
          <a:miter lim="800000"/>
        </a:ln>
      </a:spPr>
      <a:bodyPr wrap="square" lIns="182880" tIns="182880" rIns="182880" bIns="182880" rtlCol="0">
        <a:noAutofit/>
      </a:bodyPr>
      <a:lstStyle>
        <a:defPPr>
          <a:lnSpc>
            <a:spcPct val="90000"/>
          </a:lnSpc>
          <a:spcBef>
            <a:spcPts val="400"/>
          </a:spcBef>
          <a:defRPr dirty="0"/>
        </a:defPPr>
      </a:lstStyle>
    </a:txDef>
  </a:objectDefaults>
  <a:extraClrSchemeLst/>
  <a:custClrLst>
    <a:custClr name="HPE Green">
      <a:srgbClr val="00B08A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6" id="{915D7471-45D9-49D9-B21C-ED279F5A70BE}" vid="{155F1C2B-79FB-417F-8EDF-2935430F0B97}"/>
    </a:ext>
  </a:extLst>
</a:theme>
</file>

<file path=ppt/theme/theme6.xml><?xml version="1.0" encoding="utf-8"?>
<a:theme xmlns:a="http://schemas.openxmlformats.org/drawingml/2006/main" name="1_HPE Standard 16x9 Metric - Interim version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00B388"/>
      </a:accent1>
      <a:accent2>
        <a:srgbClr val="425563"/>
      </a:accent2>
      <a:accent3>
        <a:srgbClr val="877B75"/>
      </a:accent3>
      <a:accent4>
        <a:srgbClr val="C6C9CA"/>
      </a:accent4>
      <a:accent5>
        <a:srgbClr val="617D78"/>
      </a:accent5>
      <a:accent6>
        <a:srgbClr val="614767"/>
      </a:accent6>
      <a:hlink>
        <a:srgbClr val="00B388"/>
      </a:hlink>
      <a:folHlink>
        <a:srgbClr val="878787"/>
      </a:folHlink>
    </a:clrScheme>
    <a:fontScheme name="HPE">
      <a:majorFont>
        <a:latin typeface="Metric Bold"/>
        <a:ea typeface=""/>
        <a:cs typeface=""/>
      </a:majorFont>
      <a:minorFont>
        <a:latin typeface="Metric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HPE Turquoise">
      <a:srgbClr val="2AD2C9"/>
    </a:custClr>
    <a:custClr name="HPE Orange">
      <a:srgbClr val="FF8D6D"/>
    </a:custClr>
  </a:custClrLst>
  <a:extLst>
    <a:ext uri="{05A4C25C-085E-4340-85A3-A5531E510DB2}">
      <thm15:themeFamily xmlns:thm15="http://schemas.microsoft.com/office/thememl/2012/main" name="Presentation1" id="{92D01B46-690E-4F58-8F79-55E150DE4EB0}" vid="{B2FADB4F-4ED2-488E-9658-959FD3A00D1E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AB-HSA_distribute</Template>
  <TotalTime>5680</TotalTime>
  <Words>1246</Words>
  <Application>Microsoft Office PowerPoint</Application>
  <PresentationFormat>Widescreen</PresentationFormat>
  <Paragraphs>142</Paragraphs>
  <Slides>2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9" baseType="lpstr">
      <vt:lpstr>Aptos</vt:lpstr>
      <vt:lpstr>Arial</vt:lpstr>
      <vt:lpstr>HP Simplified</vt:lpstr>
      <vt:lpstr>Metric Bold</vt:lpstr>
      <vt:lpstr>Metric Regular</vt:lpstr>
      <vt:lpstr>MetricHPE</vt:lpstr>
      <vt:lpstr>MetricHPE Black</vt:lpstr>
      <vt:lpstr>MetricHPE Light</vt:lpstr>
      <vt:lpstr>MetricHPE Semibold</vt:lpstr>
      <vt:lpstr>HPE_Standard_Metric_16x9_080117</vt:lpstr>
      <vt:lpstr>2_HPE_Standard_Metric_16x9_080117</vt:lpstr>
      <vt:lpstr>1_HPE_Standard_Metric_16x9_080117</vt:lpstr>
      <vt:lpstr>10_HPE_Standard_Metric_16x9_080117</vt:lpstr>
      <vt:lpstr>3_HPE_Standard_Metric_16x9_080117</vt:lpstr>
      <vt:lpstr>1_HPE Standard 16x9 Metric - Interim version</vt:lpstr>
      <vt:lpstr>think-cell Slide</vt:lpstr>
      <vt:lpstr>Sharp: A Distribution-based framework for reproducible performance evaluation</vt:lpstr>
      <vt:lpstr>PowerPoint Presentation</vt:lpstr>
      <vt:lpstr>PowerPoint Presentation</vt:lpstr>
      <vt:lpstr>PowerPoint Presentation</vt:lpstr>
      <vt:lpstr>The problem</vt:lpstr>
      <vt:lpstr>The generalized problem</vt:lpstr>
      <vt:lpstr>PowerPoint Presentation</vt:lpstr>
      <vt:lpstr>our solution</vt:lpstr>
      <vt:lpstr>PowerPoint Presentation</vt:lpstr>
      <vt:lpstr>Main features</vt:lpstr>
      <vt:lpstr>Distribution-first approach</vt:lpstr>
      <vt:lpstr>point summaries vs. whole distributions</vt:lpstr>
      <vt:lpstr>Automated stopping rules</vt:lpstr>
      <vt:lpstr>Autostop examples</vt:lpstr>
      <vt:lpstr>Resource savings with the ks auto-stop rule</vt:lpstr>
      <vt:lpstr>Composable, Configurable backends</vt:lpstr>
      <vt:lpstr>PowerPoint Presentation</vt:lpstr>
      <vt:lpstr>reporting</vt:lpstr>
      <vt:lpstr>Integrated benchmarking environment</vt:lpstr>
      <vt:lpstr>Future directions</vt:lpstr>
      <vt:lpstr>Additional information</vt:lpstr>
      <vt:lpstr>Autostop comparison</vt:lpstr>
      <vt:lpstr>Parameter-space exploration &amp; optimiz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harp: Reproducible performance evaluation</dc:title>
  <dc:creator>Frachtenberg, Eitan</dc:creator>
  <cp:lastModifiedBy>Frachtenberg, Eitan</cp:lastModifiedBy>
  <cp:revision>3</cp:revision>
  <dcterms:created xsi:type="dcterms:W3CDTF">2024-04-01T19:31:34Z</dcterms:created>
  <dcterms:modified xsi:type="dcterms:W3CDTF">2025-09-01T19:47:10Z</dcterms:modified>
</cp:coreProperties>
</file>